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1" r:id="rId4"/>
  </p:sldMasterIdLst>
  <p:notesMasterIdLst>
    <p:notesMasterId r:id="rId11"/>
  </p:notesMasterIdLst>
  <p:handoutMasterIdLst>
    <p:handoutMasterId r:id="rId12"/>
  </p:handoutMasterIdLst>
  <p:sldIdLst>
    <p:sldId id="2147328709" r:id="rId5"/>
    <p:sldId id="30549" r:id="rId6"/>
    <p:sldId id="2147328708" r:id="rId7"/>
    <p:sldId id="2147328704" r:id="rId8"/>
    <p:sldId id="2147328707" r:id="rId9"/>
    <p:sldId id="4047" r:id="rId10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0825663-517C-7CAA-CA6A-FF02DB3EC985}" name="Krista Bruine de Bruin" initials="KB" userId="b7bdf7dc24e86179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BF0"/>
    <a:srgbClr val="E8ECF0"/>
    <a:srgbClr val="0CA789"/>
    <a:srgbClr val="009242"/>
    <a:srgbClr val="FF5500"/>
    <a:srgbClr val="E61914"/>
    <a:srgbClr val="93C0ED"/>
    <a:srgbClr val="F3F8FD"/>
    <a:srgbClr val="0C325D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105874C-ED0C-48B1-A6A2-A9760FBB69AA}" v="12" dt="2025-06-05T10:05:34.6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ijl, gemiddeld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A107856-5554-42FB-B03E-39F5DBC370BA}" styleName="Stijl, gemiddeld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2838BEF-8BB2-4498-84A7-C5851F593DF1}" styleName="Stijl, gemiddeld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Stijl, gemiddeld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DA37D80-6434-44D0-A028-1B22A696006F}" styleName="Stijl, licht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Stijl, licht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ijl, gemiddeld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5" d="100"/>
          <a:sy n="145" d="100"/>
        </p:scale>
        <p:origin x="1074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ouk Piening" userId="9b39b6d3-e15d-4172-99f8-f10838a5ddb6" providerId="ADAL" clId="{8105874C-ED0C-48B1-A6A2-A9760FBB69AA}"/>
    <pc:docChg chg="undo custSel addSld delSld modSld">
      <pc:chgData name="Anouk Piening" userId="9b39b6d3-e15d-4172-99f8-f10838a5ddb6" providerId="ADAL" clId="{8105874C-ED0C-48B1-A6A2-A9760FBB69AA}" dt="2025-06-05T10:07:32.969" v="329" actId="14100"/>
      <pc:docMkLst>
        <pc:docMk/>
      </pc:docMkLst>
      <pc:sldChg chg="addSp delSp modSp mod">
        <pc:chgData name="Anouk Piening" userId="9b39b6d3-e15d-4172-99f8-f10838a5ddb6" providerId="ADAL" clId="{8105874C-ED0C-48B1-A6A2-A9760FBB69AA}" dt="2025-06-05T09:57:06.128" v="144" actId="1036"/>
        <pc:sldMkLst>
          <pc:docMk/>
          <pc:sldMk cId="1579367856" sldId="30549"/>
        </pc:sldMkLst>
        <pc:spChg chg="mod">
          <ac:chgData name="Anouk Piening" userId="9b39b6d3-e15d-4172-99f8-f10838a5ddb6" providerId="ADAL" clId="{8105874C-ED0C-48B1-A6A2-A9760FBB69AA}" dt="2025-06-04T11:56:08.468" v="16" actId="20577"/>
          <ac:spMkLst>
            <pc:docMk/>
            <pc:sldMk cId="1579367856" sldId="30549"/>
            <ac:spMk id="9" creationId="{BE8023B0-1393-83B3-5F0A-8E4D281C9E68}"/>
          </ac:spMkLst>
        </pc:spChg>
        <pc:spChg chg="mod topLvl">
          <ac:chgData name="Anouk Piening" userId="9b39b6d3-e15d-4172-99f8-f10838a5ddb6" providerId="ADAL" clId="{8105874C-ED0C-48B1-A6A2-A9760FBB69AA}" dt="2025-06-05T09:56:48.621" v="139" actId="164"/>
          <ac:spMkLst>
            <pc:docMk/>
            <pc:sldMk cId="1579367856" sldId="30549"/>
            <ac:spMk id="14" creationId="{A596ECDC-0D92-C0ED-0D70-F1121DFD88EE}"/>
          </ac:spMkLst>
        </pc:spChg>
        <pc:grpChg chg="del">
          <ac:chgData name="Anouk Piening" userId="9b39b6d3-e15d-4172-99f8-f10838a5ddb6" providerId="ADAL" clId="{8105874C-ED0C-48B1-A6A2-A9760FBB69AA}" dt="2025-06-05T09:56:25.496" v="133" actId="478"/>
          <ac:grpSpMkLst>
            <pc:docMk/>
            <pc:sldMk cId="1579367856" sldId="30549"/>
            <ac:grpSpMk id="4" creationId="{F239F5FD-F83F-8DA9-96BA-F9E0C304F65B}"/>
          </ac:grpSpMkLst>
        </pc:grpChg>
        <pc:grpChg chg="add mod">
          <ac:chgData name="Anouk Piening" userId="9b39b6d3-e15d-4172-99f8-f10838a5ddb6" providerId="ADAL" clId="{8105874C-ED0C-48B1-A6A2-A9760FBB69AA}" dt="2025-06-05T09:56:51.811" v="140" actId="14861"/>
          <ac:grpSpMkLst>
            <pc:docMk/>
            <pc:sldMk cId="1579367856" sldId="30549"/>
            <ac:grpSpMk id="10" creationId="{88765487-D72D-90DF-58B5-51BB43218127}"/>
          </ac:grpSpMkLst>
        </pc:grpChg>
        <pc:picChg chg="del topLvl">
          <ac:chgData name="Anouk Piening" userId="9b39b6d3-e15d-4172-99f8-f10838a5ddb6" providerId="ADAL" clId="{8105874C-ED0C-48B1-A6A2-A9760FBB69AA}" dt="2025-06-05T09:56:25.496" v="133" actId="478"/>
          <ac:picMkLst>
            <pc:docMk/>
            <pc:sldMk cId="1579367856" sldId="30549"/>
            <ac:picMk id="3" creationId="{63F8AEE1-F0FC-FE91-C1F5-527707168941}"/>
          </ac:picMkLst>
        </pc:picChg>
        <pc:picChg chg="add mod">
          <ac:chgData name="Anouk Piening" userId="9b39b6d3-e15d-4172-99f8-f10838a5ddb6" providerId="ADAL" clId="{8105874C-ED0C-48B1-A6A2-A9760FBB69AA}" dt="2025-06-05T09:57:06.128" v="144" actId="1036"/>
          <ac:picMkLst>
            <pc:docMk/>
            <pc:sldMk cId="1579367856" sldId="30549"/>
            <ac:picMk id="5" creationId="{6D1DBD5C-1B04-8346-E2A9-ED6234684BC0}"/>
          </ac:picMkLst>
        </pc:picChg>
      </pc:sldChg>
      <pc:sldChg chg="addSp modSp del mod">
        <pc:chgData name="Anouk Piening" userId="9b39b6d3-e15d-4172-99f8-f10838a5ddb6" providerId="ADAL" clId="{8105874C-ED0C-48B1-A6A2-A9760FBB69AA}" dt="2025-06-05T09:54:27.670" v="113" actId="47"/>
        <pc:sldMkLst>
          <pc:docMk/>
          <pc:sldMk cId="2444162427" sldId="2147328699"/>
        </pc:sldMkLst>
        <pc:spChg chg="add mod">
          <ac:chgData name="Anouk Piening" userId="9b39b6d3-e15d-4172-99f8-f10838a5ddb6" providerId="ADAL" clId="{8105874C-ED0C-48B1-A6A2-A9760FBB69AA}" dt="2025-06-05T09:52:08.177" v="99" actId="20577"/>
          <ac:spMkLst>
            <pc:docMk/>
            <pc:sldMk cId="2444162427" sldId="2147328699"/>
            <ac:spMk id="13" creationId="{6F12B302-8CB5-54E2-C728-BF2579B55591}"/>
          </ac:spMkLst>
        </pc:spChg>
        <pc:spChg chg="add mod">
          <ac:chgData name="Anouk Piening" userId="9b39b6d3-e15d-4172-99f8-f10838a5ddb6" providerId="ADAL" clId="{8105874C-ED0C-48B1-A6A2-A9760FBB69AA}" dt="2025-06-05T09:52:37.814" v="105" actId="1076"/>
          <ac:spMkLst>
            <pc:docMk/>
            <pc:sldMk cId="2444162427" sldId="2147328699"/>
            <ac:spMk id="14" creationId="{332417B1-3948-83AE-F287-49CA0046E39D}"/>
          </ac:spMkLst>
        </pc:spChg>
        <pc:spChg chg="mod">
          <ac:chgData name="Anouk Piening" userId="9b39b6d3-e15d-4172-99f8-f10838a5ddb6" providerId="ADAL" clId="{8105874C-ED0C-48B1-A6A2-A9760FBB69AA}" dt="2025-06-05T09:50:00.703" v="20" actId="20577"/>
          <ac:spMkLst>
            <pc:docMk/>
            <pc:sldMk cId="2444162427" sldId="2147328699"/>
            <ac:spMk id="2176" creationId="{30801BB2-3F92-5654-1476-2FFAC610CE99}"/>
          </ac:spMkLst>
        </pc:spChg>
        <pc:spChg chg="mod">
          <ac:chgData name="Anouk Piening" userId="9b39b6d3-e15d-4172-99f8-f10838a5ddb6" providerId="ADAL" clId="{8105874C-ED0C-48B1-A6A2-A9760FBB69AA}" dt="2025-06-05T09:52:30.395" v="104" actId="1076"/>
          <ac:spMkLst>
            <pc:docMk/>
            <pc:sldMk cId="2444162427" sldId="2147328699"/>
            <ac:spMk id="2179" creationId="{A5584351-6235-8454-4D91-89BA0915EED4}"/>
          </ac:spMkLst>
        </pc:spChg>
        <pc:spChg chg="mod">
          <ac:chgData name="Anouk Piening" userId="9b39b6d3-e15d-4172-99f8-f10838a5ddb6" providerId="ADAL" clId="{8105874C-ED0C-48B1-A6A2-A9760FBB69AA}" dt="2025-06-05T09:49:56.971" v="17" actId="20577"/>
          <ac:spMkLst>
            <pc:docMk/>
            <pc:sldMk cId="2444162427" sldId="2147328699"/>
            <ac:spMk id="2203" creationId="{B8156D29-A2D2-EA55-4462-79B20838D5FF}"/>
          </ac:spMkLst>
        </pc:spChg>
        <pc:spChg chg="mod">
          <ac:chgData name="Anouk Piening" userId="9b39b6d3-e15d-4172-99f8-f10838a5ddb6" providerId="ADAL" clId="{8105874C-ED0C-48B1-A6A2-A9760FBB69AA}" dt="2025-06-05T09:50:53.019" v="52" actId="20577"/>
          <ac:spMkLst>
            <pc:docMk/>
            <pc:sldMk cId="2444162427" sldId="2147328699"/>
            <ac:spMk id="2228" creationId="{26706CC6-DCF2-F1D1-80B6-633DBFA76F54}"/>
          </ac:spMkLst>
        </pc:spChg>
        <pc:grpChg chg="mod">
          <ac:chgData name="Anouk Piening" userId="9b39b6d3-e15d-4172-99f8-f10838a5ddb6" providerId="ADAL" clId="{8105874C-ED0C-48B1-A6A2-A9760FBB69AA}" dt="2025-06-05T09:52:27.178" v="103" actId="1076"/>
          <ac:grpSpMkLst>
            <pc:docMk/>
            <pc:sldMk cId="2444162427" sldId="2147328699"/>
            <ac:grpSpMk id="20" creationId="{57C58C1F-4DCA-1DD6-E4D5-BBD650E2D986}"/>
          </ac:grpSpMkLst>
        </pc:grpChg>
        <pc:grpChg chg="mod">
          <ac:chgData name="Anouk Piening" userId="9b39b6d3-e15d-4172-99f8-f10838a5ddb6" providerId="ADAL" clId="{8105874C-ED0C-48B1-A6A2-A9760FBB69AA}" dt="2025-06-05T09:52:27.178" v="103" actId="1076"/>
          <ac:grpSpMkLst>
            <pc:docMk/>
            <pc:sldMk cId="2444162427" sldId="2147328699"/>
            <ac:grpSpMk id="24" creationId="{C31BB725-04A7-7D42-855E-A3BB43295D7D}"/>
          </ac:grpSpMkLst>
        </pc:grpChg>
      </pc:sldChg>
      <pc:sldChg chg="del">
        <pc:chgData name="Anouk Piening" userId="9b39b6d3-e15d-4172-99f8-f10838a5ddb6" providerId="ADAL" clId="{8105874C-ED0C-48B1-A6A2-A9760FBB69AA}" dt="2025-06-05T09:56:14.581" v="130" actId="47"/>
        <pc:sldMkLst>
          <pc:docMk/>
          <pc:sldMk cId="3506057577" sldId="2147328706"/>
        </pc:sldMkLst>
      </pc:sldChg>
      <pc:sldChg chg="addSp modSp add mod">
        <pc:chgData name="Anouk Piening" userId="9b39b6d3-e15d-4172-99f8-f10838a5ddb6" providerId="ADAL" clId="{8105874C-ED0C-48B1-A6A2-A9760FBB69AA}" dt="2025-06-05T10:07:32.969" v="329" actId="14100"/>
        <pc:sldMkLst>
          <pc:docMk/>
          <pc:sldMk cId="2636200066" sldId="2147328708"/>
        </pc:sldMkLst>
        <pc:spChg chg="mod">
          <ac:chgData name="Anouk Piening" userId="9b39b6d3-e15d-4172-99f8-f10838a5ddb6" providerId="ADAL" clId="{8105874C-ED0C-48B1-A6A2-A9760FBB69AA}" dt="2025-06-05T09:54:14.942" v="111" actId="1036"/>
          <ac:spMkLst>
            <pc:docMk/>
            <pc:sldMk cId="2636200066" sldId="2147328708"/>
            <ac:spMk id="3" creationId="{8378884B-CFAA-49DA-E5C9-B0792373F5AE}"/>
          </ac:spMkLst>
        </pc:spChg>
        <pc:spChg chg="mod">
          <ac:chgData name="Anouk Piening" userId="9b39b6d3-e15d-4172-99f8-f10838a5ddb6" providerId="ADAL" clId="{8105874C-ED0C-48B1-A6A2-A9760FBB69AA}" dt="2025-06-05T09:54:14.942" v="111" actId="1036"/>
          <ac:spMkLst>
            <pc:docMk/>
            <pc:sldMk cId="2636200066" sldId="2147328708"/>
            <ac:spMk id="10" creationId="{72A1B02B-09F9-E667-F7C3-099C014D19A5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23" creationId="{1726CD79-2487-79E0-899D-5E1EFF100C47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25" creationId="{6763EF45-2B01-DF64-D729-67AA4816D491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27" creationId="{F5AD716B-D911-240C-C284-53875FD8A596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28" creationId="{4125A792-B86E-D4B7-8267-56C5FAF87BEA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36" creationId="{1E8CBD73-3CCA-7071-F24C-AC34DFA22729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39" creationId="{31C5BE67-91C5-7F7F-2614-F21F0BC0A71F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40" creationId="{C40EA304-64D7-5A10-B04D-00D3270B18EF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43" creationId="{A6F17F7A-AD81-2553-F68B-2652DEFF2FC0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44" creationId="{68910B04-55E5-9055-1828-755E8DFEE998}"/>
          </ac:spMkLst>
        </pc:spChg>
        <pc:spChg chg="add mod">
          <ac:chgData name="Anouk Piening" userId="9b39b6d3-e15d-4172-99f8-f10838a5ddb6" providerId="ADAL" clId="{8105874C-ED0C-48B1-A6A2-A9760FBB69AA}" dt="2025-06-05T09:53:31.139" v="107"/>
          <ac:spMkLst>
            <pc:docMk/>
            <pc:sldMk cId="2636200066" sldId="2147328708"/>
            <ac:spMk id="45" creationId="{CF91C0F3-0336-E7AA-4FBB-85BD6F29137F}"/>
          </ac:spMkLst>
        </pc:spChg>
        <pc:spChg chg="mod">
          <ac:chgData name="Anouk Piening" userId="9b39b6d3-e15d-4172-99f8-f10838a5ddb6" providerId="ADAL" clId="{8105874C-ED0C-48B1-A6A2-A9760FBB69AA}" dt="2025-06-05T10:07:32.969" v="329" actId="14100"/>
          <ac:spMkLst>
            <pc:docMk/>
            <pc:sldMk cId="2636200066" sldId="2147328708"/>
            <ac:spMk id="46" creationId="{17DFC6C9-692C-2018-F879-158C2100D644}"/>
          </ac:spMkLst>
        </pc:spChg>
        <pc:spChg chg="add mod">
          <ac:chgData name="Anouk Piening" userId="9b39b6d3-e15d-4172-99f8-f10838a5ddb6" providerId="ADAL" clId="{8105874C-ED0C-48B1-A6A2-A9760FBB69AA}" dt="2025-06-05T09:54:45.112" v="114"/>
          <ac:spMkLst>
            <pc:docMk/>
            <pc:sldMk cId="2636200066" sldId="2147328708"/>
            <ac:spMk id="47" creationId="{2B64B8DB-3F5F-8A6B-EF8D-7794DB6952C2}"/>
          </ac:spMkLst>
        </pc:spChg>
        <pc:spChg chg="add mod">
          <ac:chgData name="Anouk Piening" userId="9b39b6d3-e15d-4172-99f8-f10838a5ddb6" providerId="ADAL" clId="{8105874C-ED0C-48B1-A6A2-A9760FBB69AA}" dt="2025-06-05T09:54:45.112" v="114"/>
          <ac:spMkLst>
            <pc:docMk/>
            <pc:sldMk cId="2636200066" sldId="2147328708"/>
            <ac:spMk id="48" creationId="{7549233B-CB51-BEBA-A2C7-808766C2FD3C}"/>
          </ac:spMkLst>
        </pc:spChg>
        <pc:spChg chg="add mod">
          <ac:chgData name="Anouk Piening" userId="9b39b6d3-e15d-4172-99f8-f10838a5ddb6" providerId="ADAL" clId="{8105874C-ED0C-48B1-A6A2-A9760FBB69AA}" dt="2025-06-05T09:54:45.112" v="114"/>
          <ac:spMkLst>
            <pc:docMk/>
            <pc:sldMk cId="2636200066" sldId="2147328708"/>
            <ac:spMk id="49" creationId="{8F59B9C9-2F1B-B4E3-FB08-53760A04E627}"/>
          </ac:spMkLst>
        </pc:spChg>
        <pc:spChg chg="mod">
          <ac:chgData name="Anouk Piening" userId="9b39b6d3-e15d-4172-99f8-f10838a5ddb6" providerId="ADAL" clId="{8105874C-ED0C-48B1-A6A2-A9760FBB69AA}" dt="2025-06-05T09:56:07.675" v="129" actId="14100"/>
          <ac:spMkLst>
            <pc:docMk/>
            <pc:sldMk cId="2636200066" sldId="2147328708"/>
            <ac:spMk id="50" creationId="{08BED80F-05BA-BDD5-E7F4-F1D1DEF0F773}"/>
          </ac:spMkLst>
        </pc:spChg>
        <pc:spChg chg="add mod">
          <ac:chgData name="Anouk Piening" userId="9b39b6d3-e15d-4172-99f8-f10838a5ddb6" providerId="ADAL" clId="{8105874C-ED0C-48B1-A6A2-A9760FBB69AA}" dt="2025-06-05T09:54:45.112" v="114"/>
          <ac:spMkLst>
            <pc:docMk/>
            <pc:sldMk cId="2636200066" sldId="2147328708"/>
            <ac:spMk id="51" creationId="{CDB73895-A47D-80E1-6309-68EFBB46852A}"/>
          </ac:spMkLst>
        </pc:spChg>
        <pc:spChg chg="add mod">
          <ac:chgData name="Anouk Piening" userId="9b39b6d3-e15d-4172-99f8-f10838a5ddb6" providerId="ADAL" clId="{8105874C-ED0C-48B1-A6A2-A9760FBB69AA}" dt="2025-06-05T09:55:13.234" v="118" actId="1076"/>
          <ac:spMkLst>
            <pc:docMk/>
            <pc:sldMk cId="2636200066" sldId="2147328708"/>
            <ac:spMk id="52" creationId="{CDAAE29B-08C6-4E0E-52F9-1386B4B48BE1}"/>
          </ac:spMkLst>
        </pc:spChg>
        <pc:spChg chg="add mod">
          <ac:chgData name="Anouk Piening" userId="9b39b6d3-e15d-4172-99f8-f10838a5ddb6" providerId="ADAL" clId="{8105874C-ED0C-48B1-A6A2-A9760FBB69AA}" dt="2025-06-05T09:54:45.112" v="114"/>
          <ac:spMkLst>
            <pc:docMk/>
            <pc:sldMk cId="2636200066" sldId="2147328708"/>
            <ac:spMk id="54" creationId="{642BB91C-4924-CDE3-FF9F-AAB360D92402}"/>
          </ac:spMkLst>
        </pc:spChg>
        <pc:spChg chg="mod">
          <ac:chgData name="Anouk Piening" userId="9b39b6d3-e15d-4172-99f8-f10838a5ddb6" providerId="ADAL" clId="{8105874C-ED0C-48B1-A6A2-A9760FBB69AA}" dt="2025-06-05T09:55:53.781" v="126" actId="1076"/>
          <ac:spMkLst>
            <pc:docMk/>
            <pc:sldMk cId="2636200066" sldId="2147328708"/>
            <ac:spMk id="55" creationId="{AB237FF9-4A88-5CF4-9C9D-7DC166D13080}"/>
          </ac:spMkLst>
        </pc:spChg>
        <pc:spChg chg="mod">
          <ac:chgData name="Anouk Piening" userId="9b39b6d3-e15d-4172-99f8-f10838a5ddb6" providerId="ADAL" clId="{8105874C-ED0C-48B1-A6A2-A9760FBB69AA}" dt="2025-06-05T09:55:50.182" v="125" actId="1076"/>
          <ac:spMkLst>
            <pc:docMk/>
            <pc:sldMk cId="2636200066" sldId="2147328708"/>
            <ac:spMk id="56" creationId="{91335A3F-02F2-456C-BD0A-5058E173B1D9}"/>
          </ac:spMkLst>
        </pc:spChg>
        <pc:spChg chg="add mod">
          <ac:chgData name="Anouk Piening" userId="9b39b6d3-e15d-4172-99f8-f10838a5ddb6" providerId="ADAL" clId="{8105874C-ED0C-48B1-A6A2-A9760FBB69AA}" dt="2025-06-05T09:54:45.112" v="114"/>
          <ac:spMkLst>
            <pc:docMk/>
            <pc:sldMk cId="2636200066" sldId="2147328708"/>
            <ac:spMk id="57" creationId="{8C04FED3-88B0-FC10-9789-9EDE270E7A84}"/>
          </ac:spMkLst>
        </pc:spChg>
        <pc:spChg chg="add mod">
          <ac:chgData name="Anouk Piening" userId="9b39b6d3-e15d-4172-99f8-f10838a5ddb6" providerId="ADAL" clId="{8105874C-ED0C-48B1-A6A2-A9760FBB69AA}" dt="2025-06-05T09:54:45.112" v="114"/>
          <ac:spMkLst>
            <pc:docMk/>
            <pc:sldMk cId="2636200066" sldId="2147328708"/>
            <ac:spMk id="58" creationId="{DA7D04F2-7B9A-6DC4-DA34-0FBB5CC755F1}"/>
          </ac:spMkLst>
        </pc:spChg>
        <pc:spChg chg="add mod">
          <ac:chgData name="Anouk Piening" userId="9b39b6d3-e15d-4172-99f8-f10838a5ddb6" providerId="ADAL" clId="{8105874C-ED0C-48B1-A6A2-A9760FBB69AA}" dt="2025-06-05T09:54:45.112" v="114"/>
          <ac:spMkLst>
            <pc:docMk/>
            <pc:sldMk cId="2636200066" sldId="2147328708"/>
            <ac:spMk id="59" creationId="{E1BB3F43-653F-5B66-65A0-AF8F2BD9CA92}"/>
          </ac:spMkLst>
        </pc:spChg>
        <pc:spChg chg="add mod">
          <ac:chgData name="Anouk Piening" userId="9b39b6d3-e15d-4172-99f8-f10838a5ddb6" providerId="ADAL" clId="{8105874C-ED0C-48B1-A6A2-A9760FBB69AA}" dt="2025-06-05T09:56:03.017" v="127" actId="1076"/>
          <ac:spMkLst>
            <pc:docMk/>
            <pc:sldMk cId="2636200066" sldId="2147328708"/>
            <ac:spMk id="60" creationId="{1D163E19-FAF1-ACE3-3867-0B7CB8CA4978}"/>
          </ac:spMkLst>
        </pc:spChg>
        <pc:spChg chg="add mod">
          <ac:chgData name="Anouk Piening" userId="9b39b6d3-e15d-4172-99f8-f10838a5ddb6" providerId="ADAL" clId="{8105874C-ED0C-48B1-A6A2-A9760FBB69AA}" dt="2025-06-05T09:54:59.022" v="115"/>
          <ac:spMkLst>
            <pc:docMk/>
            <pc:sldMk cId="2636200066" sldId="2147328708"/>
            <ac:spMk id="61" creationId="{48F80940-02A8-3E37-77D3-86D5A1F0220A}"/>
          </ac:spMkLst>
        </pc:spChg>
        <pc:spChg chg="add mod">
          <ac:chgData name="Anouk Piening" userId="9b39b6d3-e15d-4172-99f8-f10838a5ddb6" providerId="ADAL" clId="{8105874C-ED0C-48B1-A6A2-A9760FBB69AA}" dt="2025-06-05T10:06:07.721" v="239" actId="1076"/>
          <ac:spMkLst>
            <pc:docMk/>
            <pc:sldMk cId="2636200066" sldId="2147328708"/>
            <ac:spMk id="62" creationId="{DD259FC9-B312-6A74-1D3F-EEE60198763C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118" creationId="{59FB0157-DC41-D3D4-C41F-E43F0F2EF237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154" creationId="{78F4C7AB-4E37-8453-B3B9-A4C0855854C4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174" creationId="{D032A754-9E6C-20A0-A091-987ABA92AF90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198" creationId="{787B7B2A-2B67-C55E-5B3F-268575DAFB67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204" creationId="{8DBD67B3-F7AD-8978-4628-A1EFEB716B90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210" creationId="{EE3F7AEC-AEA5-EF74-78E1-A88354485A3C}"/>
          </ac:spMkLst>
        </pc:spChg>
        <pc:spChg chg="mod">
          <ac:chgData name="Anouk Piening" userId="9b39b6d3-e15d-4172-99f8-f10838a5ddb6" providerId="ADAL" clId="{8105874C-ED0C-48B1-A6A2-A9760FBB69AA}" dt="2025-06-05T09:55:31.065" v="122" actId="1076"/>
          <ac:spMkLst>
            <pc:docMk/>
            <pc:sldMk cId="2636200066" sldId="2147328708"/>
            <ac:spMk id="2215" creationId="{3A6D8A36-7A3F-779D-937C-905DF157007A}"/>
          </ac:spMkLst>
        </pc:spChg>
        <pc:spChg chg="mod">
          <ac:chgData name="Anouk Piening" userId="9b39b6d3-e15d-4172-99f8-f10838a5ddb6" providerId="ADAL" clId="{8105874C-ED0C-48B1-A6A2-A9760FBB69AA}" dt="2025-06-05T09:55:23.211" v="121" actId="1076"/>
          <ac:spMkLst>
            <pc:docMk/>
            <pc:sldMk cId="2636200066" sldId="2147328708"/>
            <ac:spMk id="2217" creationId="{772558F8-7F89-073A-5B52-455E282B5B2A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233" creationId="{7CB4EA57-10AD-F2CB-B8F7-B1BA2B625CD7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255" creationId="{D152B82D-C475-D3CE-80E3-FF0C8DDA9AE4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264" creationId="{0429D89A-3190-802C-59F5-980916C69CB3}"/>
          </ac:spMkLst>
        </pc:spChg>
        <pc:spChg chg="mod">
          <ac:chgData name="Anouk Piening" userId="9b39b6d3-e15d-4172-99f8-f10838a5ddb6" providerId="ADAL" clId="{8105874C-ED0C-48B1-A6A2-A9760FBB69AA}" dt="2025-06-05T09:53:57.070" v="109" actId="1035"/>
          <ac:spMkLst>
            <pc:docMk/>
            <pc:sldMk cId="2636200066" sldId="2147328708"/>
            <ac:spMk id="2294" creationId="{D6B99B88-953D-884C-7823-6C4F22593F02}"/>
          </ac:spMkLst>
        </pc:spChg>
        <pc:grpChg chg="mod">
          <ac:chgData name="Anouk Piening" userId="9b39b6d3-e15d-4172-99f8-f10838a5ddb6" providerId="ADAL" clId="{8105874C-ED0C-48B1-A6A2-A9760FBB69AA}" dt="2025-06-05T09:54:14.942" v="111" actId="1036"/>
          <ac:grpSpMkLst>
            <pc:docMk/>
            <pc:sldMk cId="2636200066" sldId="2147328708"/>
            <ac:grpSpMk id="4" creationId="{7E4E9D2C-586A-EF2B-CE15-DFA8E02DBEC1}"/>
          </ac:grpSpMkLst>
        </pc:grpChg>
      </pc:sldChg>
      <pc:sldChg chg="addSp delSp modSp add mod">
        <pc:chgData name="Anouk Piening" userId="9b39b6d3-e15d-4172-99f8-f10838a5ddb6" providerId="ADAL" clId="{8105874C-ED0C-48B1-A6A2-A9760FBB69AA}" dt="2025-06-05T09:55:36.815" v="124"/>
        <pc:sldMkLst>
          <pc:docMk/>
          <pc:sldMk cId="2417478284" sldId="2147328709"/>
        </pc:sldMkLst>
        <pc:spChg chg="add mod">
          <ac:chgData name="Anouk Piening" userId="9b39b6d3-e15d-4172-99f8-f10838a5ddb6" providerId="ADAL" clId="{8105874C-ED0C-48B1-A6A2-A9760FBB69AA}" dt="2025-06-05T09:55:36.815" v="124"/>
          <ac:spMkLst>
            <pc:docMk/>
            <pc:sldMk cId="2417478284" sldId="2147328709"/>
            <ac:spMk id="19" creationId="{E8C2AA3F-9D4B-4631-DC3A-683EB792EADA}"/>
          </ac:spMkLst>
        </pc:spChg>
        <pc:spChg chg="add mod">
          <ac:chgData name="Anouk Piening" userId="9b39b6d3-e15d-4172-99f8-f10838a5ddb6" providerId="ADAL" clId="{8105874C-ED0C-48B1-A6A2-A9760FBB69AA}" dt="2025-06-05T09:55:36.815" v="124"/>
          <ac:spMkLst>
            <pc:docMk/>
            <pc:sldMk cId="2417478284" sldId="2147328709"/>
            <ac:spMk id="23" creationId="{ECD2A727-5BF9-7423-2223-B07057479A1E}"/>
          </ac:spMkLst>
        </pc:spChg>
        <pc:spChg chg="del">
          <ac:chgData name="Anouk Piening" userId="9b39b6d3-e15d-4172-99f8-f10838a5ddb6" providerId="ADAL" clId="{8105874C-ED0C-48B1-A6A2-A9760FBB69AA}" dt="2025-06-05T09:55:36.432" v="123" actId="478"/>
          <ac:spMkLst>
            <pc:docMk/>
            <pc:sldMk cId="2417478284" sldId="2147328709"/>
            <ac:spMk id="2215" creationId="{78947659-C7CD-2755-1630-30AA31EE63BF}"/>
          </ac:spMkLst>
        </pc:spChg>
        <pc:spChg chg="del">
          <ac:chgData name="Anouk Piening" userId="9b39b6d3-e15d-4172-99f8-f10838a5ddb6" providerId="ADAL" clId="{8105874C-ED0C-48B1-A6A2-A9760FBB69AA}" dt="2025-06-05T09:55:36.432" v="123" actId="478"/>
          <ac:spMkLst>
            <pc:docMk/>
            <pc:sldMk cId="2417478284" sldId="2147328709"/>
            <ac:spMk id="2217" creationId="{A246653B-8BB3-155A-C5E1-E11009657E6A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173E77E1-3D7A-2D69-2857-0CE9BD1CECD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B0CA28B-A8C9-C45B-0F45-ED0EAEC5263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2702F8-9E34-4D16-AD55-5061B5E58970}" type="datetimeFigureOut">
              <a:rPr lang="en-GB" smtClean="0"/>
              <a:t>05/06/2025</a:t>
            </a:fld>
            <a:endParaRPr lang="en-GB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7839050-B5DB-772A-7689-2DABBDF5B02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C64C602-ADFB-5E5F-3691-D500C2A7D9E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B20FC6-9FA5-4377-8088-88DC8419056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1051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404734-0069-3F41-9418-B5249E13037A}" type="datetimeFigureOut">
              <a:rPr lang="nl-NL" smtClean="0"/>
              <a:t>5-6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56D63A-7441-2240-9301-BCB34938B5F0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65241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56D63A-7441-2240-9301-BCB34938B5F0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157070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99355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ijdelijke aanduiding voor afbeelding 11" descr="Afbeelding met persoon, dragen, sluiten, ogen&#10;&#10;Automatisch gegenereerde beschrijving">
            <a:extLst>
              <a:ext uri="{FF2B5EF4-FFF2-40B4-BE49-F238E27FC236}">
                <a16:creationId xmlns:a16="http://schemas.microsoft.com/office/drawing/2014/main" id="{E7D08FDC-1598-BE9D-4B23-69B7B717A7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675310"/>
            <a:ext cx="12192000" cy="6895135"/>
          </a:xfrm>
          <a:prstGeom prst="rect">
            <a:avLst/>
          </a:prstGeom>
        </p:spPr>
      </p:pic>
      <p:sp>
        <p:nvSpPr>
          <p:cNvPr id="15" name="Tijdelijke aanduiding voor tekst 5">
            <a:extLst>
              <a:ext uri="{FF2B5EF4-FFF2-40B4-BE49-F238E27FC236}">
                <a16:creationId xmlns:a16="http://schemas.microsoft.com/office/drawing/2014/main" id="{4F9C9590-C1A0-401C-8BA4-6053EC0EA2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-3476" y="5175849"/>
            <a:ext cx="10496442" cy="1682152"/>
          </a:xfrm>
          <a:gradFill>
            <a:gsLst>
              <a:gs pos="0">
                <a:schemeClr val="tx2"/>
              </a:gs>
              <a:gs pos="74000">
                <a:schemeClr val="tx2"/>
              </a:gs>
              <a:gs pos="83000">
                <a:schemeClr val="tx2"/>
              </a:gs>
              <a:gs pos="100000">
                <a:schemeClr val="tx2"/>
              </a:gs>
            </a:gsLst>
            <a:lin ang="5400000" scaled="1"/>
          </a:gra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l-NL" dirty="0"/>
              <a:t> 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9A048C-B375-49D7-BC1A-18A239CF9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4357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9A048C-B375-49D7-BC1A-18A239CF9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11">
            <a:extLst>
              <a:ext uri="{FF2B5EF4-FFF2-40B4-BE49-F238E27FC236}">
                <a16:creationId xmlns:a16="http://schemas.microsoft.com/office/drawing/2014/main" id="{E2DD6E16-F6F9-4464-95D5-CD4999F0A1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5180" y="5584374"/>
            <a:ext cx="6351353" cy="407147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Cinzel" panose="00000500000000000000" pitchFamily="50" charset="0"/>
              </a:defRPr>
            </a:lvl1pPr>
          </a:lstStyle>
          <a:p>
            <a:r>
              <a:rPr lang="nl-NL" dirty="0"/>
              <a:t>Titel van de presentatie</a:t>
            </a:r>
          </a:p>
        </p:txBody>
      </p:sp>
      <p:sp>
        <p:nvSpPr>
          <p:cNvPr id="33" name="Tijdelijke aanduiding voor verticale tekst 2">
            <a:extLst>
              <a:ext uri="{FF2B5EF4-FFF2-40B4-BE49-F238E27FC236}">
                <a16:creationId xmlns:a16="http://schemas.microsoft.com/office/drawing/2014/main" id="{A60C6614-3216-42D2-BA20-0AC6CB903E84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80" y="6185201"/>
            <a:ext cx="5470821" cy="287338"/>
          </a:xfrm>
        </p:spPr>
        <p:txBody>
          <a:bodyPr vert="horz" anchor="ctr"/>
          <a:lstStyle>
            <a:lvl1pPr marL="0" indent="0">
              <a:buNone/>
              <a:defRPr sz="1200" b="1" cap="all" spc="30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Naam // Datum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A30FE1D8-B3F6-AB7D-870D-BEDF7FDB861A}"/>
              </a:ext>
            </a:extLst>
          </p:cNvPr>
          <p:cNvSpPr/>
          <p:nvPr userDrawn="1"/>
        </p:nvSpPr>
        <p:spPr>
          <a:xfrm>
            <a:off x="10492966" y="5175849"/>
            <a:ext cx="1699034" cy="168215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810BDB80-EA32-9246-94E8-86A59D6CC7F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335" y="5201768"/>
            <a:ext cx="1950390" cy="195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882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BFE3DB69-82BA-55C0-D2FF-40FEAB784B79}"/>
              </a:ext>
            </a:extLst>
          </p:cNvPr>
          <p:cNvCxnSpPr>
            <a:cxnSpLocks/>
          </p:cNvCxnSpPr>
          <p:nvPr userDrawn="1"/>
        </p:nvCxnSpPr>
        <p:spPr>
          <a:xfrm>
            <a:off x="838200" y="2057400"/>
            <a:ext cx="3933825" cy="0"/>
          </a:xfrm>
          <a:prstGeom prst="line">
            <a:avLst/>
          </a:prstGeom>
          <a:ln w="19050">
            <a:solidFill>
              <a:srgbClr val="60B3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511181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60FDB4DB-63E8-465F-B27E-71AFD690F49E}"/>
              </a:ext>
            </a:extLst>
          </p:cNvPr>
          <p:cNvCxnSpPr>
            <a:cxnSpLocks/>
          </p:cNvCxnSpPr>
          <p:nvPr userDrawn="1"/>
        </p:nvCxnSpPr>
        <p:spPr>
          <a:xfrm>
            <a:off x="838200" y="2057400"/>
            <a:ext cx="3933825" cy="0"/>
          </a:xfrm>
          <a:prstGeom prst="line">
            <a:avLst/>
          </a:prstGeom>
          <a:ln w="19050">
            <a:solidFill>
              <a:srgbClr val="60B3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61421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50% + Afbeelding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78312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80" y="1273185"/>
            <a:ext cx="5470821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 dirty="0"/>
              <a:t>Klik hier om een </a:t>
            </a:r>
            <a:r>
              <a:rPr lang="nl-NL" noProof="0" dirty="0" err="1"/>
              <a:t>bullet</a:t>
            </a:r>
            <a:r>
              <a:rPr lang="nl-NL" noProof="0" dirty="0"/>
              <a:t> te plaatsen. Meer hulp nodig? Aan de zijkanten van de slides heeft </a:t>
            </a:r>
            <a:r>
              <a:rPr lang="nl-NL" noProof="0" dirty="0" err="1"/>
              <a:t>PPTSolutions</a:t>
            </a:r>
            <a:r>
              <a:rPr lang="nl-NL" noProof="0" dirty="0"/>
              <a:t> instructies geplaatst om te helpen met het stijlen- én verwerken van tekst.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Lees tekst</a:t>
            </a:r>
          </a:p>
          <a:p>
            <a:pPr lvl="3"/>
            <a:r>
              <a:rPr lang="nl-NL" noProof="0" dirty="0"/>
              <a:t>Header</a:t>
            </a:r>
          </a:p>
          <a:p>
            <a:pPr lvl="4"/>
            <a:r>
              <a:rPr lang="nl-NL" noProof="0" dirty="0"/>
              <a:t>Italic tekst</a:t>
            </a:r>
          </a:p>
          <a:p>
            <a:pPr lvl="5"/>
            <a:r>
              <a:rPr lang="nl-NL" noProof="0" dirty="0"/>
              <a:t>Bullet</a:t>
            </a:r>
          </a:p>
          <a:p>
            <a:pPr lvl="6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Lees tekst</a:t>
            </a:r>
          </a:p>
          <a:p>
            <a:pPr lvl="8"/>
            <a:r>
              <a:rPr lang="nl-NL" noProof="0" dirty="0"/>
              <a:t>Header</a:t>
            </a:r>
          </a:p>
        </p:txBody>
      </p:sp>
      <p:sp>
        <p:nvSpPr>
          <p:cNvPr id="9" name="Tijdelijke aanduiding voor afbeelding 12">
            <a:extLst>
              <a:ext uri="{FF2B5EF4-FFF2-40B4-BE49-F238E27FC236}">
                <a16:creationId xmlns:a16="http://schemas.microsoft.com/office/drawing/2014/main" id="{043DDC51-126A-492E-BB47-CB002F6BB6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12328" y="0"/>
            <a:ext cx="5479672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 dirty="0"/>
              <a:t>Klik op onderstaand pictogram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dianummer 12">
            <a:extLst>
              <a:ext uri="{FF2B5EF4-FFF2-40B4-BE49-F238E27FC236}">
                <a16:creationId xmlns:a16="http://schemas.microsoft.com/office/drawing/2014/main" id="{6766DFE0-E9B3-43CC-8F34-A8C2AAFD1D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4404792-384C-4B49-B655-AEA3AF0E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80" y="452440"/>
            <a:ext cx="5470821" cy="322261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B0C0E2CD-88A4-4165-ADF2-29369CCA8E59}"/>
              </a:ext>
            </a:extLst>
          </p:cNvPr>
          <p:cNvCxnSpPr>
            <a:cxnSpLocks/>
          </p:cNvCxnSpPr>
          <p:nvPr userDrawn="1"/>
        </p:nvCxnSpPr>
        <p:spPr>
          <a:xfrm>
            <a:off x="625180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75652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50% + Afbeelding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84100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017635" y="1273185"/>
            <a:ext cx="5470821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 dirty="0"/>
              <a:t>Klik hier om een </a:t>
            </a:r>
            <a:r>
              <a:rPr lang="nl-NL" noProof="0" dirty="0" err="1"/>
              <a:t>bullet</a:t>
            </a:r>
            <a:r>
              <a:rPr lang="nl-NL" noProof="0" dirty="0"/>
              <a:t> te plaatsen. Meer hulp nodig? Aan de zijkanten van de slides heeft </a:t>
            </a:r>
            <a:r>
              <a:rPr lang="nl-NL" noProof="0" dirty="0" err="1"/>
              <a:t>PPTSolutions</a:t>
            </a:r>
            <a:r>
              <a:rPr lang="nl-NL" noProof="0" dirty="0"/>
              <a:t> instructies geplaatst om te helpen met het stijlen- én verwerken van tekst.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Lees tekst</a:t>
            </a:r>
          </a:p>
          <a:p>
            <a:pPr lvl="3"/>
            <a:r>
              <a:rPr lang="nl-NL" noProof="0" dirty="0"/>
              <a:t>Header</a:t>
            </a:r>
          </a:p>
          <a:p>
            <a:pPr lvl="4"/>
            <a:r>
              <a:rPr lang="nl-NL" noProof="0" dirty="0"/>
              <a:t>Italic tekst</a:t>
            </a:r>
          </a:p>
          <a:p>
            <a:pPr lvl="5"/>
            <a:r>
              <a:rPr lang="nl-NL" noProof="0" dirty="0"/>
              <a:t>Bullet</a:t>
            </a:r>
          </a:p>
          <a:p>
            <a:pPr lvl="6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Lees tekst</a:t>
            </a:r>
          </a:p>
          <a:p>
            <a:pPr lvl="8"/>
            <a:r>
              <a:rPr lang="nl-NL" noProof="0" dirty="0"/>
              <a:t>Header</a:t>
            </a:r>
          </a:p>
        </p:txBody>
      </p:sp>
      <p:sp>
        <p:nvSpPr>
          <p:cNvPr id="9" name="Tijdelijke aanduiding voor afbeelding 12">
            <a:extLst>
              <a:ext uri="{FF2B5EF4-FFF2-40B4-BE49-F238E27FC236}">
                <a16:creationId xmlns:a16="http://schemas.microsoft.com/office/drawing/2014/main" id="{043DDC51-126A-492E-BB47-CB002F6BB6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479672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 dirty="0"/>
              <a:t>Klik op onderstaand pictogram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dianummer 12">
            <a:extLst>
              <a:ext uri="{FF2B5EF4-FFF2-40B4-BE49-F238E27FC236}">
                <a16:creationId xmlns:a16="http://schemas.microsoft.com/office/drawing/2014/main" id="{6766DFE0-E9B3-43CC-8F34-A8C2AAFD1D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4404792-384C-4B49-B655-AEA3AF0E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17635" y="452440"/>
            <a:ext cx="5470821" cy="322261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cxnSp>
        <p:nvCxnSpPr>
          <p:cNvPr id="11" name="Rechte verbindingslijn 10">
            <a:extLst>
              <a:ext uri="{FF2B5EF4-FFF2-40B4-BE49-F238E27FC236}">
                <a16:creationId xmlns:a16="http://schemas.microsoft.com/office/drawing/2014/main" id="{B0C0E2CD-88A4-4165-ADF2-29369CCA8E59}"/>
              </a:ext>
            </a:extLst>
          </p:cNvPr>
          <p:cNvCxnSpPr>
            <a:cxnSpLocks/>
          </p:cNvCxnSpPr>
          <p:nvPr userDrawn="1"/>
        </p:nvCxnSpPr>
        <p:spPr>
          <a:xfrm>
            <a:off x="6017635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6498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50% + Grafiek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79" y="1273185"/>
            <a:ext cx="5472000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 dirty="0"/>
              <a:t>Klik hier om een </a:t>
            </a:r>
            <a:r>
              <a:rPr lang="nl-NL" noProof="0" dirty="0" err="1"/>
              <a:t>bullet</a:t>
            </a:r>
            <a:r>
              <a:rPr lang="nl-NL" noProof="0" dirty="0"/>
              <a:t> te plaatsen. Meer hulp nodig? Aan de zijkanten van de slides heeft </a:t>
            </a:r>
            <a:r>
              <a:rPr lang="nl-NL" noProof="0" dirty="0" err="1"/>
              <a:t>PPTSolutions</a:t>
            </a:r>
            <a:r>
              <a:rPr lang="nl-NL" noProof="0" dirty="0"/>
              <a:t> instructies geplaatst om te helpen met het stijlen- én verwerken van tekst.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Lees tekst</a:t>
            </a:r>
          </a:p>
          <a:p>
            <a:pPr lvl="3"/>
            <a:r>
              <a:rPr lang="nl-NL" noProof="0" dirty="0"/>
              <a:t>Header</a:t>
            </a:r>
          </a:p>
          <a:p>
            <a:pPr lvl="4"/>
            <a:r>
              <a:rPr lang="nl-NL" noProof="0" dirty="0"/>
              <a:t>Italic tekst</a:t>
            </a:r>
          </a:p>
          <a:p>
            <a:pPr lvl="5"/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Lees tekst</a:t>
            </a:r>
          </a:p>
          <a:p>
            <a:pPr lvl="8"/>
            <a:r>
              <a:rPr lang="nl-NL" noProof="0" dirty="0"/>
              <a:t>Header</a:t>
            </a:r>
          </a:p>
        </p:txBody>
      </p:sp>
      <p:sp>
        <p:nvSpPr>
          <p:cNvPr id="10" name="Tijdelijke aanduiding voor grafiek 7">
            <a:extLst>
              <a:ext uri="{FF2B5EF4-FFF2-40B4-BE49-F238E27FC236}">
                <a16:creationId xmlns:a16="http://schemas.microsoft.com/office/drawing/2014/main" id="{E8AEC30F-ABD6-4382-9813-A38BF21E8A56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22535" y="1273185"/>
            <a:ext cx="4853131" cy="4903778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 dirty="0"/>
              <a:t>Klik op onderstaand pictogram</a:t>
            </a:r>
            <a:br>
              <a:rPr lang="nl-NL" dirty="0"/>
            </a:br>
            <a:r>
              <a:rPr lang="nl-NL" dirty="0"/>
              <a:t>om een grafiek in te voegen</a:t>
            </a:r>
          </a:p>
        </p:txBody>
      </p:sp>
      <p:sp>
        <p:nvSpPr>
          <p:cNvPr id="14" name="Tijdelijke aanduiding voor dianummer 13">
            <a:extLst>
              <a:ext uri="{FF2B5EF4-FFF2-40B4-BE49-F238E27FC236}">
                <a16:creationId xmlns:a16="http://schemas.microsoft.com/office/drawing/2014/main" id="{5D9237F4-8026-4F6C-9106-B1FE3033FC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78E936B3-B28B-49DE-B97B-98CB420D3C49}"/>
              </a:ext>
            </a:extLst>
          </p:cNvPr>
          <p:cNvSpPr txBox="1"/>
          <p:nvPr userDrawn="1"/>
        </p:nvSpPr>
        <p:spPr>
          <a:xfrm>
            <a:off x="8650576" y="-292100"/>
            <a:ext cx="3541424" cy="248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nl-NL" sz="1050" b="1" spc="38" baseline="0" dirty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kst 50% + Grafiek 50%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19EE6B1-90F4-4536-87ED-786DB9365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79" y="365125"/>
            <a:ext cx="10728621" cy="653117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cxnSp>
        <p:nvCxnSpPr>
          <p:cNvPr id="9" name="Rechte verbindingslijn 8">
            <a:extLst>
              <a:ext uri="{FF2B5EF4-FFF2-40B4-BE49-F238E27FC236}">
                <a16:creationId xmlns:a16="http://schemas.microsoft.com/office/drawing/2014/main" id="{C8B1859F-638A-4856-84B7-23CBECB53A34}"/>
              </a:ext>
            </a:extLst>
          </p:cNvPr>
          <p:cNvCxnSpPr>
            <a:cxnSpLocks/>
          </p:cNvCxnSpPr>
          <p:nvPr userDrawn="1"/>
        </p:nvCxnSpPr>
        <p:spPr>
          <a:xfrm>
            <a:off x="625180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0200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50% + Afbeelding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78312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80" y="1273185"/>
            <a:ext cx="5470821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 dirty="0"/>
              <a:t>Klik hier om een </a:t>
            </a:r>
            <a:r>
              <a:rPr lang="nl-NL" noProof="0" dirty="0" err="1"/>
              <a:t>bullet</a:t>
            </a:r>
            <a:r>
              <a:rPr lang="nl-NL" noProof="0" dirty="0"/>
              <a:t> te plaatsen. Meer hulp nodig? Aan de zijkanten van de slides heeft </a:t>
            </a:r>
            <a:r>
              <a:rPr lang="nl-NL" noProof="0" dirty="0" err="1"/>
              <a:t>PPTSolutions</a:t>
            </a:r>
            <a:r>
              <a:rPr lang="nl-NL" noProof="0" dirty="0"/>
              <a:t> instructies geplaatst om te helpen met het stijlen- én verwerken van tekst.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Lees tekst</a:t>
            </a:r>
          </a:p>
          <a:p>
            <a:pPr lvl="3"/>
            <a:r>
              <a:rPr lang="nl-NL" noProof="0" dirty="0"/>
              <a:t>Header</a:t>
            </a:r>
          </a:p>
          <a:p>
            <a:pPr lvl="4"/>
            <a:r>
              <a:rPr lang="nl-NL" noProof="0" dirty="0"/>
              <a:t>Italic tekst</a:t>
            </a:r>
          </a:p>
          <a:p>
            <a:pPr lvl="5"/>
            <a:r>
              <a:rPr lang="nl-NL" noProof="0" dirty="0"/>
              <a:t>Bullet</a:t>
            </a:r>
          </a:p>
          <a:p>
            <a:pPr lvl="6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Lees tekst</a:t>
            </a:r>
          </a:p>
          <a:p>
            <a:pPr lvl="8"/>
            <a:r>
              <a:rPr lang="nl-NL" noProof="0" dirty="0"/>
              <a:t>Header</a:t>
            </a:r>
          </a:p>
        </p:txBody>
      </p:sp>
      <p:sp>
        <p:nvSpPr>
          <p:cNvPr id="9" name="Tijdelijke aanduiding voor afbeelding 12">
            <a:extLst>
              <a:ext uri="{FF2B5EF4-FFF2-40B4-BE49-F238E27FC236}">
                <a16:creationId xmlns:a16="http://schemas.microsoft.com/office/drawing/2014/main" id="{043DDC51-126A-492E-BB47-CB002F6BB6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712328" y="0"/>
            <a:ext cx="5479672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 dirty="0"/>
              <a:t>Klik op onderstaand pictogram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sp>
        <p:nvSpPr>
          <p:cNvPr id="13" name="Tijdelijke aanduiding voor dianummer 12">
            <a:extLst>
              <a:ext uri="{FF2B5EF4-FFF2-40B4-BE49-F238E27FC236}">
                <a16:creationId xmlns:a16="http://schemas.microsoft.com/office/drawing/2014/main" id="{6766DFE0-E9B3-43CC-8F34-A8C2AAFD1D5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4404792-384C-4B49-B655-AEA3AF0E46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80" y="452440"/>
            <a:ext cx="5470821" cy="322261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cxnSp>
        <p:nvCxnSpPr>
          <p:cNvPr id="10" name="Rechte verbindingslijn 8">
            <a:extLst>
              <a:ext uri="{FF2B5EF4-FFF2-40B4-BE49-F238E27FC236}">
                <a16:creationId xmlns:a16="http://schemas.microsoft.com/office/drawing/2014/main" id="{C89071E5-03F4-A918-452E-6BC4377521AE}"/>
              </a:ext>
            </a:extLst>
          </p:cNvPr>
          <p:cNvCxnSpPr>
            <a:cxnSpLocks/>
          </p:cNvCxnSpPr>
          <p:nvPr userDrawn="1"/>
        </p:nvCxnSpPr>
        <p:spPr>
          <a:xfrm>
            <a:off x="625180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76624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50% + Grafiek 50%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25179" y="1273185"/>
            <a:ext cx="5472000" cy="4903779"/>
          </a:xfrm>
        </p:spPr>
        <p:txBody>
          <a:bodyPr vert="horz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l-NL" noProof="0" dirty="0"/>
              <a:t>Klik hier om een </a:t>
            </a:r>
            <a:r>
              <a:rPr lang="nl-NL" noProof="0" dirty="0" err="1"/>
              <a:t>bullet</a:t>
            </a:r>
            <a:r>
              <a:rPr lang="nl-NL" noProof="0" dirty="0"/>
              <a:t> te plaatsen. Meer hulp nodig? Aan de zijkanten van de slides heeft </a:t>
            </a:r>
            <a:r>
              <a:rPr lang="nl-NL" noProof="0" dirty="0" err="1"/>
              <a:t>PPTSolutions</a:t>
            </a:r>
            <a:r>
              <a:rPr lang="nl-NL" noProof="0" dirty="0"/>
              <a:t> instructies geplaatst om te helpen met het stijlen- én verwerken van tekst.</a:t>
            </a:r>
          </a:p>
          <a:p>
            <a:pPr lvl="1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2"/>
            <a:r>
              <a:rPr lang="nl-NL" noProof="0" dirty="0"/>
              <a:t>Lees tekst</a:t>
            </a:r>
          </a:p>
          <a:p>
            <a:pPr lvl="3"/>
            <a:r>
              <a:rPr lang="nl-NL" noProof="0" dirty="0"/>
              <a:t>Header</a:t>
            </a:r>
          </a:p>
          <a:p>
            <a:pPr lvl="4"/>
            <a:r>
              <a:rPr lang="nl-NL" noProof="0" dirty="0"/>
              <a:t>Italic tekst</a:t>
            </a:r>
          </a:p>
          <a:p>
            <a:pPr lvl="5"/>
            <a:r>
              <a:rPr lang="nl-NL" noProof="0" dirty="0" err="1"/>
              <a:t>Bullet</a:t>
            </a:r>
            <a:endParaRPr lang="nl-NL" noProof="0" dirty="0"/>
          </a:p>
          <a:p>
            <a:pPr lvl="6"/>
            <a:r>
              <a:rPr lang="nl-NL" noProof="0" dirty="0"/>
              <a:t>Sub-</a:t>
            </a:r>
            <a:r>
              <a:rPr lang="nl-NL" noProof="0" dirty="0" err="1"/>
              <a:t>bullet</a:t>
            </a:r>
            <a:endParaRPr lang="nl-NL" noProof="0" dirty="0"/>
          </a:p>
          <a:p>
            <a:pPr lvl="7"/>
            <a:r>
              <a:rPr lang="nl-NL" noProof="0" dirty="0"/>
              <a:t>Lees tekst</a:t>
            </a:r>
          </a:p>
          <a:p>
            <a:pPr lvl="8"/>
            <a:r>
              <a:rPr lang="nl-NL" noProof="0" dirty="0"/>
              <a:t>Header</a:t>
            </a:r>
          </a:p>
        </p:txBody>
      </p:sp>
      <p:sp>
        <p:nvSpPr>
          <p:cNvPr id="10" name="Tijdelijke aanduiding voor grafiek 7">
            <a:extLst>
              <a:ext uri="{FF2B5EF4-FFF2-40B4-BE49-F238E27FC236}">
                <a16:creationId xmlns:a16="http://schemas.microsoft.com/office/drawing/2014/main" id="{E8AEC30F-ABD6-4382-9813-A38BF21E8A56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722535" y="1273185"/>
            <a:ext cx="4853131" cy="4903778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 dirty="0"/>
              <a:t>Klik op onderstaand pictogram</a:t>
            </a:r>
            <a:br>
              <a:rPr lang="nl-NL" dirty="0"/>
            </a:br>
            <a:r>
              <a:rPr lang="nl-NL" dirty="0"/>
              <a:t>om een grafiek in te voegen</a:t>
            </a:r>
          </a:p>
        </p:txBody>
      </p:sp>
      <p:sp>
        <p:nvSpPr>
          <p:cNvPr id="14" name="Tijdelijke aanduiding voor dianummer 13">
            <a:extLst>
              <a:ext uri="{FF2B5EF4-FFF2-40B4-BE49-F238E27FC236}">
                <a16:creationId xmlns:a16="http://schemas.microsoft.com/office/drawing/2014/main" id="{5D9237F4-8026-4F6C-9106-B1FE3033FC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78E936B3-B28B-49DE-B97B-98CB420D3C49}"/>
              </a:ext>
            </a:extLst>
          </p:cNvPr>
          <p:cNvSpPr txBox="1"/>
          <p:nvPr userDrawn="1"/>
        </p:nvSpPr>
        <p:spPr>
          <a:xfrm>
            <a:off x="8650576" y="-292100"/>
            <a:ext cx="3541424" cy="248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nl-NL" sz="1050" b="1" spc="38" baseline="0" dirty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kst 50% + Grafiek 50%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19EE6B1-90F4-4536-87ED-786DB9365B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5179" y="365125"/>
            <a:ext cx="10728621" cy="653117"/>
          </a:xfrm>
        </p:spPr>
        <p:txBody>
          <a:bodyPr/>
          <a:lstStyle/>
          <a:p>
            <a:r>
              <a:rPr lang="nl-NL" dirty="0"/>
              <a:t>Klik om stijl te bewerken</a:t>
            </a:r>
          </a:p>
        </p:txBody>
      </p:sp>
      <p:cxnSp>
        <p:nvCxnSpPr>
          <p:cNvPr id="11" name="Rechte verbindingslijn 8">
            <a:extLst>
              <a:ext uri="{FF2B5EF4-FFF2-40B4-BE49-F238E27FC236}">
                <a16:creationId xmlns:a16="http://schemas.microsoft.com/office/drawing/2014/main" id="{7EFE2CE8-2BFE-4941-9A50-43B6F81A09F7}"/>
              </a:ext>
            </a:extLst>
          </p:cNvPr>
          <p:cNvCxnSpPr>
            <a:cxnSpLocks/>
          </p:cNvCxnSpPr>
          <p:nvPr userDrawn="1"/>
        </p:nvCxnSpPr>
        <p:spPr>
          <a:xfrm>
            <a:off x="625180" y="1143502"/>
            <a:ext cx="547082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15647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12">
            <a:extLst>
              <a:ext uri="{FF2B5EF4-FFF2-40B4-BE49-F238E27FC236}">
                <a16:creationId xmlns:a16="http://schemas.microsoft.com/office/drawing/2014/main" id="{7DE44E73-F804-890D-8782-2A0487556ED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35939" y="0"/>
            <a:ext cx="5479672" cy="68580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788" b="1" baseline="0"/>
            </a:lvl1pPr>
          </a:lstStyle>
          <a:p>
            <a:r>
              <a:rPr lang="nl-NL" dirty="0"/>
              <a:t>Klik op onderstaand pictogram</a:t>
            </a:r>
            <a:br>
              <a:rPr lang="nl-NL" dirty="0"/>
            </a:br>
            <a:r>
              <a:rPr lang="nl-NL" dirty="0"/>
              <a:t>om een afbeelding in te voegen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9A048C-B375-49D7-BC1A-18A239CF9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43575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9A048C-B375-49D7-BC1A-18A239CF9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hoek 1">
            <a:extLst>
              <a:ext uri="{FF2B5EF4-FFF2-40B4-BE49-F238E27FC236}">
                <a16:creationId xmlns:a16="http://schemas.microsoft.com/office/drawing/2014/main" id="{A9F59838-B563-4BE6-95CA-9DE36C57F236}"/>
              </a:ext>
            </a:extLst>
          </p:cNvPr>
          <p:cNvSpPr/>
          <p:nvPr userDrawn="1"/>
        </p:nvSpPr>
        <p:spPr>
          <a:xfrm>
            <a:off x="770966" y="6158753"/>
            <a:ext cx="573740" cy="5647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sz="180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3FB81F0-218B-8A04-9CF6-FCF7A6B43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4" y="1363718"/>
            <a:ext cx="4303139" cy="4903780"/>
          </a:xfrm>
        </p:spPr>
        <p:txBody>
          <a:bodyPr/>
          <a:lstStyle>
            <a:lvl1pPr algn="ctr">
              <a:defRPr sz="4000" i="1"/>
            </a:lvl1pPr>
          </a:lstStyle>
          <a:p>
            <a:r>
              <a:rPr lang="nl-NL" dirty="0"/>
              <a:t>Klik om stijl te bewerk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09713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D6756-757E-AE3C-6FAF-967064E213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9B2A326-2387-A5F2-0BA6-00657D7AD4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64668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EDC2D3-8BD7-4D6E-AD8D-32B963AD4B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BB565-0994-41B4-B8F5-9CBEFA6CE8E0}" type="datetimeFigureOut">
              <a:rPr lang="en-US" smtClean="0"/>
              <a:t>6/5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D77D8E-DD7F-4DB4-A1CD-FEE7E3C4C4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AB68C5-344B-496E-8DF6-3AEEF5FBF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26A044-C650-4CE7-8AE6-962A0A623B5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642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ussen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Tijdelijke aanduiding voor afbeelding 11" descr="Afbeelding met persoon, dragen, sluiten, ogen&#10;&#10;Automatisch gegenereerde beschrijving">
            <a:extLst>
              <a:ext uri="{FF2B5EF4-FFF2-40B4-BE49-F238E27FC236}">
                <a16:creationId xmlns:a16="http://schemas.microsoft.com/office/drawing/2014/main" id="{8D70D078-7100-2A7C-5351-FC83150B60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23789" y="9284"/>
            <a:ext cx="12258019" cy="689513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2B197E-796B-05FC-DEDA-B54E932E9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 dirty="0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0CDA570-CF64-6533-8D09-100E196FFE94}"/>
              </a:ext>
            </a:extLst>
          </p:cNvPr>
          <p:cNvSpPr/>
          <p:nvPr userDrawn="1"/>
        </p:nvSpPr>
        <p:spPr>
          <a:xfrm>
            <a:off x="-39057" y="-1"/>
            <a:ext cx="12258019" cy="6904419"/>
          </a:xfrm>
          <a:prstGeom prst="rect">
            <a:avLst/>
          </a:prstGeom>
          <a:solidFill>
            <a:srgbClr val="3494BA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D67AD69-A842-975B-8E43-58FF68D269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36815" y="2869156"/>
            <a:ext cx="12255777" cy="1119689"/>
          </a:xfrm>
        </p:spPr>
        <p:txBody>
          <a:bodyPr anchor="b"/>
          <a:lstStyle>
            <a:lvl1pPr algn="ctr">
              <a:defRPr sz="4800">
                <a:solidFill>
                  <a:schemeClr val="bg1">
                    <a:lumMod val="95000"/>
                  </a:schemeClr>
                </a:solidFill>
                <a:latin typeface="Cinzel" panose="00000500000000000000" pitchFamily="50" charset="0"/>
              </a:defRPr>
            </a:lvl1pPr>
          </a:lstStyle>
          <a:p>
            <a:r>
              <a:rPr lang="nl-NL" dirty="0"/>
              <a:t>Klik om stijl </a:t>
            </a:r>
            <a:br>
              <a:rPr lang="nl-NL" dirty="0"/>
            </a:br>
            <a:r>
              <a:rPr lang="nl-NL" dirty="0"/>
              <a:t>te bewerken</a:t>
            </a:r>
            <a:endParaRPr lang="en-US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3633E8F8-9C7A-68EB-0DEC-4C00B1FA8A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335" y="5201768"/>
            <a:ext cx="1950390" cy="195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8712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A068A3B9-1526-A38D-8AE0-BE3E66B6AC3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noProof="0"/>
              <a:t>22 September 2022</a:t>
            </a:r>
            <a:endParaRPr lang="nl-NL" noProof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10B7E398-789A-1B22-62E2-AEF6E03EBD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l-NL" noProof="0"/>
              <a:t>Klik om voettekst toe te voegen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4E97B00B-A842-C68B-0C14-722F1914BE8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282A29A4-57F5-4C4D-BBED-9A2E155135D0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F8213C-E663-1F2B-4EF0-2CD024DB2AA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19512" y="1423456"/>
            <a:ext cx="10752485" cy="450000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nl-NL" noProof="0"/>
              <a:t>Klikken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3F41074-2DBB-0D37-02A6-558909FB75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999" y="936000"/>
            <a:ext cx="10752485" cy="234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/>
              <a:t>Klik om ondertitel toe te voegen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DDAB166-37D0-B8AE-A384-55DAEC87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noProof="0"/>
              <a:t>Klik om titel toe te voegen</a:t>
            </a:r>
          </a:p>
        </p:txBody>
      </p:sp>
    </p:spTree>
    <p:extLst>
      <p:ext uri="{BB962C8B-B14F-4D97-AF65-F5344CB8AC3E}">
        <p14:creationId xmlns:p14="http://schemas.microsoft.com/office/powerpoint/2010/main" val="2365543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3173167B-7A1E-2B78-F258-9ED353DF528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nl-NL" noProof="0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6C32870-B4AD-E13B-C067-CA12B12BC02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2A29A4-57F5-4C4D-BBED-9A2E155135D0}" type="slidenum">
              <a:rPr lang="nl-NL" noProof="0" smtClean="0"/>
              <a:pPr/>
              <a:t>‹nr.›</a:t>
            </a:fld>
            <a:endParaRPr lang="nl-NL" noProof="0"/>
          </a:p>
        </p:txBody>
      </p:sp>
      <p:sp>
        <p:nvSpPr>
          <p:cNvPr id="8" name="Tijdelijke aanduiding voor tekst 7">
            <a:extLst>
              <a:ext uri="{FF2B5EF4-FFF2-40B4-BE49-F238E27FC236}">
                <a16:creationId xmlns:a16="http://schemas.microsoft.com/office/drawing/2014/main" id="{13F41074-2DBB-0D37-02A6-558909FB75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0000" y="936000"/>
            <a:ext cx="10751998" cy="39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nl-NL" noProof="0"/>
              <a:t>Klik om ondertitel toe te voegen</a:t>
            </a:r>
          </a:p>
        </p:txBody>
      </p:sp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93451108-8694-8630-2484-1F139D73D68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20000" y="1620000"/>
            <a:ext cx="10751998" cy="4302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 lvl="0"/>
            <a:r>
              <a:rPr lang="nl-NL" noProof="0"/>
              <a:t>Klik om afbeelding toe te voege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578CF997-9971-2E0A-D7FC-7FAFF0CE5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l-NL" noProof="0"/>
              <a:t>Klik om titel toe te voegen</a:t>
            </a:r>
          </a:p>
        </p:txBody>
      </p:sp>
    </p:spTree>
    <p:extLst>
      <p:ext uri="{BB962C8B-B14F-4D97-AF65-F5344CB8AC3E}">
        <p14:creationId xmlns:p14="http://schemas.microsoft.com/office/powerpoint/2010/main" val="36686437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ussen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2B197E-796B-05FC-DEDA-B54E932E9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 dirty="0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0CDA570-CF64-6533-8D09-100E196FFE94}"/>
              </a:ext>
            </a:extLst>
          </p:cNvPr>
          <p:cNvSpPr/>
          <p:nvPr userDrawn="1"/>
        </p:nvSpPr>
        <p:spPr>
          <a:xfrm>
            <a:off x="0" y="1"/>
            <a:ext cx="12186785" cy="6858000"/>
          </a:xfrm>
          <a:prstGeom prst="rect">
            <a:avLst/>
          </a:prstGeom>
          <a:solidFill>
            <a:srgbClr val="60B3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D67AD69-A842-975B-8E43-58FF68D2694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-36815" y="2869156"/>
            <a:ext cx="12255777" cy="1119689"/>
          </a:xfrm>
        </p:spPr>
        <p:txBody>
          <a:bodyPr anchor="b"/>
          <a:lstStyle>
            <a:lvl1pPr algn="ctr">
              <a:defRPr sz="4800">
                <a:solidFill>
                  <a:schemeClr val="bg1">
                    <a:lumMod val="95000"/>
                  </a:schemeClr>
                </a:solidFill>
                <a:latin typeface="Cinzel" panose="00000500000000000000" pitchFamily="50" charset="0"/>
              </a:defRPr>
            </a:lvl1pPr>
          </a:lstStyle>
          <a:p>
            <a:r>
              <a:rPr lang="nl-NL" dirty="0"/>
              <a:t>Klik om stijl </a:t>
            </a:r>
            <a:br>
              <a:rPr lang="nl-NL" dirty="0"/>
            </a:br>
            <a:r>
              <a:rPr lang="nl-NL" dirty="0"/>
              <a:t>te bewerken</a:t>
            </a:r>
            <a:endParaRPr lang="en-US" dirty="0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11F33A1-CDE9-E149-A49A-BD42CEDBFF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335" y="5201768"/>
            <a:ext cx="1950390" cy="195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8128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5" name="Rechte verbindingslijn 6">
            <a:extLst>
              <a:ext uri="{FF2B5EF4-FFF2-40B4-BE49-F238E27FC236}">
                <a16:creationId xmlns:a16="http://schemas.microsoft.com/office/drawing/2014/main" id="{5B4C6A11-E65E-1973-42BF-6AE6DE29D6F6}"/>
              </a:ext>
            </a:extLst>
          </p:cNvPr>
          <p:cNvCxnSpPr/>
          <p:nvPr userDrawn="1"/>
        </p:nvCxnSpPr>
        <p:spPr>
          <a:xfrm>
            <a:off x="1528006" y="3549820"/>
            <a:ext cx="914400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381958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A7490F-20FC-4D2B-8962-A601B3BBB1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1363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0A7490F-20FC-4D2B-8962-A601B3BBB1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jdelijke aanduiding voor dianummer 11">
            <a:extLst>
              <a:ext uri="{FF2B5EF4-FFF2-40B4-BE49-F238E27FC236}">
                <a16:creationId xmlns:a16="http://schemas.microsoft.com/office/drawing/2014/main" id="{70F1561D-2FFE-4627-8E36-D2AF2BC731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3" name="Tekstvak 12">
            <a:extLst>
              <a:ext uri="{FF2B5EF4-FFF2-40B4-BE49-F238E27FC236}">
                <a16:creationId xmlns:a16="http://schemas.microsoft.com/office/drawing/2014/main" id="{94CCC263-6A0E-4CB7-9755-B1B1AD2B63CE}"/>
              </a:ext>
            </a:extLst>
          </p:cNvPr>
          <p:cNvSpPr txBox="1"/>
          <p:nvPr userDrawn="1"/>
        </p:nvSpPr>
        <p:spPr>
          <a:xfrm>
            <a:off x="8650576" y="-292100"/>
            <a:ext cx="3541424" cy="24874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ctr">
            <a:noAutofit/>
          </a:bodyPr>
          <a:lstStyle/>
          <a:p>
            <a:pPr algn="r"/>
            <a:r>
              <a:rPr lang="nl-NL" sz="1050" b="1" spc="38" baseline="0" dirty="0">
                <a:solidFill>
                  <a:schemeClr val="accent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een titel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61DB6A-9326-458D-9CE5-FB306432F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9" name="Tijdelijke aanduiding voor verticale tekst 2">
            <a:extLst>
              <a:ext uri="{FF2B5EF4-FFF2-40B4-BE49-F238E27FC236}">
                <a16:creationId xmlns:a16="http://schemas.microsoft.com/office/drawing/2014/main" id="{DBB41C1B-A9F0-4A2C-AEC6-AAABAC9452D8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1046481" y="1330070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Hoofdstuk 1</a:t>
            </a:r>
          </a:p>
        </p:txBody>
      </p:sp>
      <p:sp>
        <p:nvSpPr>
          <p:cNvPr id="22" name="Tijdelijke aanduiding voor verticale tekst 2">
            <a:extLst>
              <a:ext uri="{FF2B5EF4-FFF2-40B4-BE49-F238E27FC236}">
                <a16:creationId xmlns:a16="http://schemas.microsoft.com/office/drawing/2014/main" id="{CA49F218-8F8D-44EC-9FC0-7C1B583E2A57}"/>
              </a:ext>
            </a:extLst>
          </p:cNvPr>
          <p:cNvSpPr>
            <a:spLocks noGrp="1"/>
          </p:cNvSpPr>
          <p:nvPr>
            <p:ph type="body" orient="vert" idx="14" hasCustomPrompt="1"/>
          </p:nvPr>
        </p:nvSpPr>
        <p:spPr>
          <a:xfrm>
            <a:off x="1046481" y="2362788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Hoofdstuk 2</a:t>
            </a:r>
          </a:p>
        </p:txBody>
      </p:sp>
      <p:sp>
        <p:nvSpPr>
          <p:cNvPr id="24" name="Tijdelijke aanduiding voor verticale tekst 2">
            <a:extLst>
              <a:ext uri="{FF2B5EF4-FFF2-40B4-BE49-F238E27FC236}">
                <a16:creationId xmlns:a16="http://schemas.microsoft.com/office/drawing/2014/main" id="{7876D17A-D4D3-4555-8495-ABCFAB19699B}"/>
              </a:ext>
            </a:extLst>
          </p:cNvPr>
          <p:cNvSpPr>
            <a:spLocks noGrp="1"/>
          </p:cNvSpPr>
          <p:nvPr>
            <p:ph type="body" orient="vert" idx="16" hasCustomPrompt="1"/>
          </p:nvPr>
        </p:nvSpPr>
        <p:spPr>
          <a:xfrm>
            <a:off x="1046481" y="3395506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Hoofdstuk 3</a:t>
            </a:r>
          </a:p>
        </p:txBody>
      </p:sp>
      <p:sp>
        <p:nvSpPr>
          <p:cNvPr id="28" name="Tijdelijke aanduiding voor verticale tekst 2">
            <a:extLst>
              <a:ext uri="{FF2B5EF4-FFF2-40B4-BE49-F238E27FC236}">
                <a16:creationId xmlns:a16="http://schemas.microsoft.com/office/drawing/2014/main" id="{67B60ACF-ABA8-47BA-B42F-C694E0B20F92}"/>
              </a:ext>
            </a:extLst>
          </p:cNvPr>
          <p:cNvSpPr>
            <a:spLocks noGrp="1"/>
          </p:cNvSpPr>
          <p:nvPr>
            <p:ph type="body" orient="vert" idx="18" hasCustomPrompt="1"/>
          </p:nvPr>
        </p:nvSpPr>
        <p:spPr>
          <a:xfrm>
            <a:off x="1046481" y="4428223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Hoofdstuk 4</a:t>
            </a:r>
          </a:p>
        </p:txBody>
      </p:sp>
      <p:sp>
        <p:nvSpPr>
          <p:cNvPr id="30" name="Tijdelijke aanduiding voor verticale tekst 2">
            <a:extLst>
              <a:ext uri="{FF2B5EF4-FFF2-40B4-BE49-F238E27FC236}">
                <a16:creationId xmlns:a16="http://schemas.microsoft.com/office/drawing/2014/main" id="{EC627BFA-866A-4750-ABE8-491B166F455A}"/>
              </a:ext>
            </a:extLst>
          </p:cNvPr>
          <p:cNvSpPr>
            <a:spLocks noGrp="1"/>
          </p:cNvSpPr>
          <p:nvPr>
            <p:ph type="body" orient="vert" idx="20" hasCustomPrompt="1"/>
          </p:nvPr>
        </p:nvSpPr>
        <p:spPr>
          <a:xfrm>
            <a:off x="6820749" y="1330070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Hoofdstuk 5</a:t>
            </a:r>
          </a:p>
        </p:txBody>
      </p:sp>
      <p:sp>
        <p:nvSpPr>
          <p:cNvPr id="32" name="Tijdelijke aanduiding voor verticale tekst 2">
            <a:extLst>
              <a:ext uri="{FF2B5EF4-FFF2-40B4-BE49-F238E27FC236}">
                <a16:creationId xmlns:a16="http://schemas.microsoft.com/office/drawing/2014/main" id="{864F78FE-A38B-4D3A-A3D2-34F69AAC269B}"/>
              </a:ext>
            </a:extLst>
          </p:cNvPr>
          <p:cNvSpPr>
            <a:spLocks noGrp="1"/>
          </p:cNvSpPr>
          <p:nvPr>
            <p:ph type="body" orient="vert" idx="22" hasCustomPrompt="1"/>
          </p:nvPr>
        </p:nvSpPr>
        <p:spPr>
          <a:xfrm>
            <a:off x="6820749" y="2362788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Hoofdstuk 6</a:t>
            </a:r>
          </a:p>
        </p:txBody>
      </p:sp>
      <p:sp>
        <p:nvSpPr>
          <p:cNvPr id="34" name="Tijdelijke aanduiding voor verticale tekst 2">
            <a:extLst>
              <a:ext uri="{FF2B5EF4-FFF2-40B4-BE49-F238E27FC236}">
                <a16:creationId xmlns:a16="http://schemas.microsoft.com/office/drawing/2014/main" id="{DB8E5FC1-1466-4514-8D8B-426E0ED62613}"/>
              </a:ext>
            </a:extLst>
          </p:cNvPr>
          <p:cNvSpPr>
            <a:spLocks noGrp="1"/>
          </p:cNvSpPr>
          <p:nvPr>
            <p:ph type="body" orient="vert" idx="24" hasCustomPrompt="1"/>
          </p:nvPr>
        </p:nvSpPr>
        <p:spPr>
          <a:xfrm>
            <a:off x="6820749" y="3395506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Hoofdstuk 7</a:t>
            </a:r>
          </a:p>
        </p:txBody>
      </p:sp>
      <p:sp>
        <p:nvSpPr>
          <p:cNvPr id="36" name="Tijdelijke aanduiding voor verticale tekst 2">
            <a:extLst>
              <a:ext uri="{FF2B5EF4-FFF2-40B4-BE49-F238E27FC236}">
                <a16:creationId xmlns:a16="http://schemas.microsoft.com/office/drawing/2014/main" id="{A7DA6071-7AD4-4FCB-82B0-3D35BE5D253A}"/>
              </a:ext>
            </a:extLst>
          </p:cNvPr>
          <p:cNvSpPr>
            <a:spLocks noGrp="1"/>
          </p:cNvSpPr>
          <p:nvPr>
            <p:ph type="body" orient="vert" idx="26" hasCustomPrompt="1"/>
          </p:nvPr>
        </p:nvSpPr>
        <p:spPr>
          <a:xfrm>
            <a:off x="6820749" y="4428223"/>
            <a:ext cx="4748084" cy="554400"/>
          </a:xfrm>
          <a:prstGeom prst="round2DiagRect">
            <a:avLst/>
          </a:prstGeom>
          <a:solidFill>
            <a:srgbClr val="F0F3F4"/>
          </a:solidFill>
        </p:spPr>
        <p:txBody>
          <a:bodyPr vert="horz" lIns="468000" anchor="ctr"/>
          <a:lstStyle>
            <a:lvl1pPr marL="0" indent="0">
              <a:buNone/>
              <a:defRPr sz="1600" b="1" cap="all" spc="150" baseline="0">
                <a:solidFill>
                  <a:schemeClr val="accent4">
                    <a:lumMod val="5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Hoofdstuk 8</a:t>
            </a:r>
          </a:p>
        </p:txBody>
      </p:sp>
      <p:sp>
        <p:nvSpPr>
          <p:cNvPr id="38" name="Tijdelijke aanduiding voor verticale tekst 2">
            <a:extLst>
              <a:ext uri="{FF2B5EF4-FFF2-40B4-BE49-F238E27FC236}">
                <a16:creationId xmlns:a16="http://schemas.microsoft.com/office/drawing/2014/main" id="{1EA8BB61-AED5-4B83-A7FC-91C31877DD5E}"/>
              </a:ext>
            </a:extLst>
          </p:cNvPr>
          <p:cNvSpPr>
            <a:spLocks noGrp="1"/>
          </p:cNvSpPr>
          <p:nvPr>
            <p:ph type="body" orient="vert" idx="28" hasCustomPrompt="1"/>
          </p:nvPr>
        </p:nvSpPr>
        <p:spPr>
          <a:xfrm>
            <a:off x="615467" y="1330070"/>
            <a:ext cx="739200" cy="554400"/>
          </a:xfrm>
          <a:prstGeom prst="round2DiagRect">
            <a:avLst/>
          </a:prstGeom>
          <a:solidFill>
            <a:schemeClr val="tx2">
              <a:lumMod val="5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01</a:t>
            </a:r>
          </a:p>
        </p:txBody>
      </p:sp>
      <p:sp>
        <p:nvSpPr>
          <p:cNvPr id="39" name="Tijdelijke aanduiding voor verticale tekst 2">
            <a:extLst>
              <a:ext uri="{FF2B5EF4-FFF2-40B4-BE49-F238E27FC236}">
                <a16:creationId xmlns:a16="http://schemas.microsoft.com/office/drawing/2014/main" id="{34DCDD3C-E5EC-4EAC-AEFF-E17C64EC441C}"/>
              </a:ext>
            </a:extLst>
          </p:cNvPr>
          <p:cNvSpPr>
            <a:spLocks noGrp="1"/>
          </p:cNvSpPr>
          <p:nvPr>
            <p:ph type="body" orient="vert" idx="29" hasCustomPrompt="1"/>
          </p:nvPr>
        </p:nvSpPr>
        <p:spPr>
          <a:xfrm>
            <a:off x="615467" y="2362788"/>
            <a:ext cx="739200" cy="554400"/>
          </a:xfrm>
          <a:prstGeom prst="round2DiagRect">
            <a:avLst/>
          </a:prstGeom>
          <a:solidFill>
            <a:schemeClr val="tx2">
              <a:lumMod val="75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02</a:t>
            </a:r>
          </a:p>
        </p:txBody>
      </p:sp>
      <p:sp>
        <p:nvSpPr>
          <p:cNvPr id="40" name="Tijdelijke aanduiding voor verticale tekst 2">
            <a:extLst>
              <a:ext uri="{FF2B5EF4-FFF2-40B4-BE49-F238E27FC236}">
                <a16:creationId xmlns:a16="http://schemas.microsoft.com/office/drawing/2014/main" id="{615BE592-09E2-4EF4-AA38-245D7DFCF0AD}"/>
              </a:ext>
            </a:extLst>
          </p:cNvPr>
          <p:cNvSpPr>
            <a:spLocks noGrp="1"/>
          </p:cNvSpPr>
          <p:nvPr>
            <p:ph type="body" orient="vert" idx="30" hasCustomPrompt="1"/>
          </p:nvPr>
        </p:nvSpPr>
        <p:spPr>
          <a:xfrm>
            <a:off x="615467" y="3395506"/>
            <a:ext cx="739200" cy="554400"/>
          </a:xfrm>
          <a:prstGeom prst="round2Diag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03</a:t>
            </a:r>
          </a:p>
        </p:txBody>
      </p:sp>
      <p:sp>
        <p:nvSpPr>
          <p:cNvPr id="41" name="Tijdelijke aanduiding voor verticale tekst 2">
            <a:extLst>
              <a:ext uri="{FF2B5EF4-FFF2-40B4-BE49-F238E27FC236}">
                <a16:creationId xmlns:a16="http://schemas.microsoft.com/office/drawing/2014/main" id="{6B6DC929-26BE-4860-B240-52B3B9993EC6}"/>
              </a:ext>
            </a:extLst>
          </p:cNvPr>
          <p:cNvSpPr>
            <a:spLocks noGrp="1"/>
          </p:cNvSpPr>
          <p:nvPr>
            <p:ph type="body" orient="vert" idx="31" hasCustomPrompt="1"/>
          </p:nvPr>
        </p:nvSpPr>
        <p:spPr>
          <a:xfrm>
            <a:off x="615467" y="4428223"/>
            <a:ext cx="739200" cy="554400"/>
          </a:xfrm>
          <a:prstGeom prst="round2DiagRect">
            <a:avLst/>
          </a:prstGeom>
          <a:solidFill>
            <a:schemeClr val="tx2">
              <a:lumMod val="40000"/>
              <a:lumOff val="6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2">
                    <a:lumMod val="10000"/>
                  </a:schemeClr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04</a:t>
            </a:r>
          </a:p>
        </p:txBody>
      </p:sp>
      <p:sp>
        <p:nvSpPr>
          <p:cNvPr id="42" name="Tijdelijke aanduiding voor verticale tekst 2">
            <a:extLst>
              <a:ext uri="{FF2B5EF4-FFF2-40B4-BE49-F238E27FC236}">
                <a16:creationId xmlns:a16="http://schemas.microsoft.com/office/drawing/2014/main" id="{CDFCEE6D-A39E-4ADC-8C52-1D06E5A4C8A3}"/>
              </a:ext>
            </a:extLst>
          </p:cNvPr>
          <p:cNvSpPr>
            <a:spLocks noGrp="1"/>
          </p:cNvSpPr>
          <p:nvPr>
            <p:ph type="body" orient="vert" idx="32" hasCustomPrompt="1"/>
          </p:nvPr>
        </p:nvSpPr>
        <p:spPr>
          <a:xfrm>
            <a:off x="6389733" y="1330070"/>
            <a:ext cx="739200" cy="554400"/>
          </a:xfrm>
          <a:prstGeom prst="round2Diag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05</a:t>
            </a:r>
          </a:p>
        </p:txBody>
      </p:sp>
      <p:sp>
        <p:nvSpPr>
          <p:cNvPr id="43" name="Tijdelijke aanduiding voor verticale tekst 2">
            <a:extLst>
              <a:ext uri="{FF2B5EF4-FFF2-40B4-BE49-F238E27FC236}">
                <a16:creationId xmlns:a16="http://schemas.microsoft.com/office/drawing/2014/main" id="{060388F8-B7F1-469E-AAE1-0FC39B2621BA}"/>
              </a:ext>
            </a:extLst>
          </p:cNvPr>
          <p:cNvSpPr>
            <a:spLocks noGrp="1"/>
          </p:cNvSpPr>
          <p:nvPr>
            <p:ph type="body" orient="vert" idx="33" hasCustomPrompt="1"/>
          </p:nvPr>
        </p:nvSpPr>
        <p:spPr>
          <a:xfrm>
            <a:off x="6389733" y="2362788"/>
            <a:ext cx="739200" cy="554400"/>
          </a:xfrm>
          <a:prstGeom prst="round2Diag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06</a:t>
            </a:r>
          </a:p>
        </p:txBody>
      </p:sp>
      <p:sp>
        <p:nvSpPr>
          <p:cNvPr id="44" name="Tijdelijke aanduiding voor verticale tekst 2">
            <a:extLst>
              <a:ext uri="{FF2B5EF4-FFF2-40B4-BE49-F238E27FC236}">
                <a16:creationId xmlns:a16="http://schemas.microsoft.com/office/drawing/2014/main" id="{8989F461-CD33-4CE3-932E-AD3EDCC81554}"/>
              </a:ext>
            </a:extLst>
          </p:cNvPr>
          <p:cNvSpPr>
            <a:spLocks noGrp="1"/>
          </p:cNvSpPr>
          <p:nvPr>
            <p:ph type="body" orient="vert" idx="34" hasCustomPrompt="1"/>
          </p:nvPr>
        </p:nvSpPr>
        <p:spPr>
          <a:xfrm>
            <a:off x="6389733" y="3395506"/>
            <a:ext cx="739200" cy="554400"/>
          </a:xfrm>
          <a:prstGeom prst="round2DiagRect">
            <a:avLst/>
          </a:prstGeom>
          <a:solidFill>
            <a:schemeClr val="accent1">
              <a:lumMod val="5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07</a:t>
            </a:r>
          </a:p>
        </p:txBody>
      </p:sp>
      <p:sp>
        <p:nvSpPr>
          <p:cNvPr id="45" name="Tijdelijke aanduiding voor verticale tekst 2">
            <a:extLst>
              <a:ext uri="{FF2B5EF4-FFF2-40B4-BE49-F238E27FC236}">
                <a16:creationId xmlns:a16="http://schemas.microsoft.com/office/drawing/2014/main" id="{536B2D55-DEBF-4448-ABB5-C4BC0F6F6D2A}"/>
              </a:ext>
            </a:extLst>
          </p:cNvPr>
          <p:cNvSpPr>
            <a:spLocks noGrp="1"/>
          </p:cNvSpPr>
          <p:nvPr>
            <p:ph type="body" orient="vert" idx="35" hasCustomPrompt="1"/>
          </p:nvPr>
        </p:nvSpPr>
        <p:spPr>
          <a:xfrm>
            <a:off x="6389733" y="4428223"/>
            <a:ext cx="739200" cy="554400"/>
          </a:xfrm>
          <a:prstGeom prst="round2DiagRect">
            <a:avLst/>
          </a:prstGeom>
          <a:solidFill>
            <a:schemeClr val="accent2">
              <a:lumMod val="10000"/>
            </a:schemeClr>
          </a:solidFill>
        </p:spPr>
        <p:txBody>
          <a:bodyPr vert="horz" anchor="ctr"/>
          <a:lstStyle>
            <a:lvl1pPr marL="0" indent="0" algn="ctr">
              <a:buNone/>
              <a:defRPr sz="1800" b="1" cap="none" spc="0" baseline="0">
                <a:solidFill>
                  <a:schemeClr val="bg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nl-NL" noProof="0" dirty="0"/>
              <a:t>08</a:t>
            </a:r>
          </a:p>
        </p:txBody>
      </p:sp>
      <p:cxnSp>
        <p:nvCxnSpPr>
          <p:cNvPr id="23" name="Rechte verbindingslijn 22">
            <a:extLst>
              <a:ext uri="{FF2B5EF4-FFF2-40B4-BE49-F238E27FC236}">
                <a16:creationId xmlns:a16="http://schemas.microsoft.com/office/drawing/2014/main" id="{618AD25E-F901-4F43-B1D2-3A809BEA1C58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7542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nl-NL" sz="9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‹nr.›</a:t>
            </a:fld>
            <a:endParaRPr lang="nl-NL" sz="9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7" name="Rechte verbindingslijn 6">
            <a:extLst>
              <a:ext uri="{FF2B5EF4-FFF2-40B4-BE49-F238E27FC236}">
                <a16:creationId xmlns:a16="http://schemas.microsoft.com/office/drawing/2014/main" id="{E49A7AFE-CB6D-4369-B1BE-211D10A92483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5FB3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3574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7" name="Rechte verbindingslijn 5">
            <a:extLst>
              <a:ext uri="{FF2B5EF4-FFF2-40B4-BE49-F238E27FC236}">
                <a16:creationId xmlns:a16="http://schemas.microsoft.com/office/drawing/2014/main" id="{98C31447-F8EA-A142-CDD2-CB0E35BABC94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60B3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2356980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ussenpag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2B197E-796B-05FC-DEDA-B54E932E910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 dirty="0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D0CDA570-CF64-6533-8D09-100E196FFE94}"/>
              </a:ext>
            </a:extLst>
          </p:cNvPr>
          <p:cNvSpPr/>
          <p:nvPr userDrawn="1"/>
        </p:nvSpPr>
        <p:spPr>
          <a:xfrm>
            <a:off x="0" y="1"/>
            <a:ext cx="12186785" cy="6858000"/>
          </a:xfrm>
          <a:prstGeom prst="rect">
            <a:avLst/>
          </a:prstGeom>
          <a:solidFill>
            <a:srgbClr val="60B3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B607C6E-CA5E-70D1-6324-BDE694679B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2075"/>
          <a:stretch/>
        </p:blipFill>
        <p:spPr>
          <a:xfrm>
            <a:off x="5052633" y="-508945"/>
            <a:ext cx="8021369" cy="544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098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476D2-0896-4839-9387-ABF8745D58E4}" type="slidenum">
              <a:rPr lang="nl-NL" smtClean="0"/>
              <a:pPr/>
              <a:t>‹nr.›</a:t>
            </a:fld>
            <a:endParaRPr lang="nl-NL"/>
          </a:p>
        </p:txBody>
      </p:sp>
      <p:cxnSp>
        <p:nvCxnSpPr>
          <p:cNvPr id="6" name="Rechte verbindingslijn 5">
            <a:extLst>
              <a:ext uri="{FF2B5EF4-FFF2-40B4-BE49-F238E27FC236}">
                <a16:creationId xmlns:a16="http://schemas.microsoft.com/office/drawing/2014/main" id="{9E80CFE2-A06E-3BFF-CC13-CD0090DE443E}"/>
              </a:ext>
            </a:extLst>
          </p:cNvPr>
          <p:cNvCxnSpPr/>
          <p:nvPr userDrawn="1"/>
        </p:nvCxnSpPr>
        <p:spPr>
          <a:xfrm>
            <a:off x="838200" y="1143502"/>
            <a:ext cx="10515600" cy="0"/>
          </a:xfrm>
          <a:prstGeom prst="line">
            <a:avLst/>
          </a:prstGeom>
          <a:ln w="19050">
            <a:solidFill>
              <a:srgbClr val="60B3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239064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4" y="217073"/>
            <a:ext cx="10515596" cy="873654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73183"/>
            <a:ext cx="10515600" cy="49037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3800" y="6356350"/>
            <a:ext cx="66283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fld id="{0E7476D2-0896-4839-9387-ABF8745D58E4}" type="slidenum">
              <a:rPr lang="nl-NL" smtClean="0"/>
              <a:pPr algn="l"/>
              <a:t>‹nr.›</a:t>
            </a:fld>
            <a:endParaRPr lang="nl-NL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28DAEA1-D689-4FD8-9ACB-1B716F64A8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96949651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28DAEA1-D689-4FD8-9ACB-1B716F64A8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C3591B68-3865-404B-B247-04C1D3E50CFA}"/>
              </a:ext>
            </a:extLst>
          </p:cNvPr>
          <p:cNvGrpSpPr/>
          <p:nvPr userDrawn="1"/>
        </p:nvGrpSpPr>
        <p:grpSpPr>
          <a:xfrm>
            <a:off x="-325599" y="-551330"/>
            <a:ext cx="12843197" cy="7960659"/>
            <a:chOff x="-244199" y="-551330"/>
            <a:chExt cx="9632398" cy="7960659"/>
          </a:xfrm>
        </p:grpSpPr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94DBAAEA-95F5-4AAF-81FD-CE1CFFE94E1D}"/>
                </a:ext>
              </a:extLst>
            </p:cNvPr>
            <p:cNvGrpSpPr/>
            <p:nvPr userDrawn="1"/>
          </p:nvGrpSpPr>
          <p:grpSpPr>
            <a:xfrm>
              <a:off x="0" y="-551330"/>
              <a:ext cx="462248" cy="7960659"/>
              <a:chOff x="0" y="-551330"/>
              <a:chExt cx="462248" cy="7960659"/>
            </a:xfrm>
          </p:grpSpPr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53E8362E-3A5D-4FD4-ACD3-7F91916F20E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Rechte verbindingslijn 26">
                <a:extLst>
                  <a:ext uri="{FF2B5EF4-FFF2-40B4-BE49-F238E27FC236}">
                    <a16:creationId xmlns:a16="http://schemas.microsoft.com/office/drawing/2014/main" id="{68F034DB-FE7E-44FD-81AA-F2F158A84C2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B1819D2-0285-495F-8F1C-835D6735C847}"/>
                </a:ext>
              </a:extLst>
            </p:cNvPr>
            <p:cNvGrpSpPr/>
            <p:nvPr userDrawn="1"/>
          </p:nvGrpSpPr>
          <p:grpSpPr>
            <a:xfrm>
              <a:off x="8681752" y="-551330"/>
              <a:ext cx="462248" cy="7960659"/>
              <a:chOff x="0" y="-551330"/>
              <a:chExt cx="462248" cy="7960659"/>
            </a:xfrm>
          </p:grpSpPr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D8CD285F-DA7C-4900-9390-AD8255825D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1D2F6912-7641-42FF-810E-988DDB71EED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30FE04AC-8458-47BB-B77B-BB685BB7C5C7}"/>
                </a:ext>
              </a:extLst>
            </p:cNvPr>
            <p:cNvGrpSpPr/>
            <p:nvPr userDrawn="1"/>
          </p:nvGrpSpPr>
          <p:grpSpPr>
            <a:xfrm rot="5400000">
              <a:off x="4340876" y="-4585075"/>
              <a:ext cx="462248" cy="9632398"/>
              <a:chOff x="0" y="-551330"/>
              <a:chExt cx="462248" cy="7960659"/>
            </a:xfrm>
          </p:grpSpPr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8F565E57-0462-47C4-B66C-69A7877B2BC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58FABA63-D0FD-44EC-A587-A1E24CE2937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C1F6589C-1795-4657-8D2B-664F61725DF7}"/>
                </a:ext>
              </a:extLst>
            </p:cNvPr>
            <p:cNvGrpSpPr/>
            <p:nvPr userDrawn="1"/>
          </p:nvGrpSpPr>
          <p:grpSpPr>
            <a:xfrm rot="5400000">
              <a:off x="4340876" y="1810676"/>
              <a:ext cx="462248" cy="9632398"/>
              <a:chOff x="0" y="-551330"/>
              <a:chExt cx="462248" cy="7960659"/>
            </a:xfrm>
          </p:grpSpPr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6D211033-38ED-4893-917F-B091B5A4575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0E1F1A80-5C21-4340-A56C-4ABFCE6F54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C8455EE-A786-4B80-96E1-CA9B3AD04B03}"/>
                </a:ext>
              </a:extLst>
            </p:cNvPr>
            <p:cNvGrpSpPr/>
            <p:nvPr userDrawn="1"/>
          </p:nvGrpSpPr>
          <p:grpSpPr>
            <a:xfrm rot="5400000">
              <a:off x="4340876" y="1582076"/>
              <a:ext cx="462248" cy="9632398"/>
              <a:chOff x="0" y="-551330"/>
              <a:chExt cx="462248" cy="7960659"/>
            </a:xfrm>
          </p:grpSpPr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34ED09F4-5789-46BE-B680-A1F34F84799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4622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A0151EDC-69BE-46A9-BB65-A79CF540C56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ep 14">
              <a:extLst>
                <a:ext uri="{FF2B5EF4-FFF2-40B4-BE49-F238E27FC236}">
                  <a16:creationId xmlns:a16="http://schemas.microsoft.com/office/drawing/2014/main" id="{4A7503AA-A783-42ED-94EC-0EFBE2868290}"/>
                </a:ext>
              </a:extLst>
            </p:cNvPr>
            <p:cNvGrpSpPr/>
            <p:nvPr userDrawn="1"/>
          </p:nvGrpSpPr>
          <p:grpSpPr>
            <a:xfrm rot="5400000">
              <a:off x="4340876" y="-3795434"/>
              <a:ext cx="462248" cy="9632398"/>
              <a:chOff x="-165100" y="-551330"/>
              <a:chExt cx="462248" cy="7960659"/>
            </a:xfrm>
          </p:grpSpPr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8F91A31E-6BC0-4DB3-9447-5E9FE3F151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297148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29796BF5-6CAB-4C82-BF63-0D58FD23A6E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165100" y="-551330"/>
                <a:ext cx="0" cy="7960659"/>
              </a:xfrm>
              <a:prstGeom prst="line">
                <a:avLst/>
              </a:prstGeom>
              <a:ln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FEBD6D-318E-7417-3988-BB8724C4E5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 dirty="0"/>
          </a:p>
        </p:txBody>
      </p:sp>
      <p:pic>
        <p:nvPicPr>
          <p:cNvPr id="8" name="Afbeelding 7" descr="Afbeelding met Lettertype, Graphics, logo, typografie&#10;&#10;Door AI gegenereerde inhoud is mogelijk onjuist.">
            <a:extLst>
              <a:ext uri="{FF2B5EF4-FFF2-40B4-BE49-F238E27FC236}">
                <a16:creationId xmlns:a16="http://schemas.microsoft.com/office/drawing/2014/main" id="{DBB886E9-C268-D228-B009-AB422F849791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500462"/>
            <a:ext cx="1752600" cy="341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319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792" r:id="rId21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5">
              <a:lumMod val="75000"/>
            </a:schemeClr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24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accent5">
              <a:lumMod val="7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calendly.com/anoukpiening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sv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hyperlink" Target="https://www.linkedin.com/posts/anoukpiening_employeejourney-employeeexperience-verzuim-activity-7330846937857814528-nFAm?utm_source=share&amp;utm_medium=member_desktop&amp;rcm=ACoAAADPLEkBQMW6gUhEgvL71YhUXSbq_p36DXs" TargetMode="External"/><Relationship Id="rId3" Type="http://schemas.openxmlformats.org/officeDocument/2006/relationships/image" Target="../media/image18.jpeg"/><Relationship Id="rId7" Type="http://schemas.openxmlformats.org/officeDocument/2006/relationships/image" Target="../media/image21.png"/><Relationship Id="rId12" Type="http://schemas.openxmlformats.org/officeDocument/2006/relationships/hyperlink" Target="https://www.linkedin.com/search/results/all/?keywords=anouk%20piening%20mb-all%20verzuim&amp;origin=GLOBAL_SEARCH_HEADER&amp;sid=mE_" TargetMode="External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6" Type="http://schemas.openxmlformats.org/officeDocument/2006/relationships/hyperlink" Target="https://calendly.com/anoukpiening" TargetMode="External"/><Relationship Id="rId11" Type="http://schemas.openxmlformats.org/officeDocument/2006/relationships/hyperlink" Target="https://www.linkedin.com/posts/anoukpiening_verzuim-employeeexperience-interviews-activity-7185887688237928448--9P6/?utm_source=share&amp;utm_medium=member_desktop&amp;rcm=ACoAAADPLEkBQMW6gUhEgvL71YhUXSbq_p36DXs" TargetMode="External"/><Relationship Id="rId5" Type="http://schemas.openxmlformats.org/officeDocument/2006/relationships/image" Target="../media/image20.jpeg"/><Relationship Id="rId15" Type="http://schemas.openxmlformats.org/officeDocument/2006/relationships/image" Target="../media/image26.png"/><Relationship Id="rId10" Type="http://schemas.openxmlformats.org/officeDocument/2006/relationships/image" Target="../media/image24.png"/><Relationship Id="rId4" Type="http://schemas.openxmlformats.org/officeDocument/2006/relationships/image" Target="../media/image19.jpeg"/><Relationship Id="rId9" Type="http://schemas.openxmlformats.org/officeDocument/2006/relationships/image" Target="../media/image23.png"/><Relationship Id="rId1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hyperlink" Target="mailto:anouk@studiocix.com" TargetMode="External"/><Relationship Id="rId1" Type="http://schemas.openxmlformats.org/officeDocument/2006/relationships/slideLayout" Target="../slideLayouts/slideLayout8.xml"/><Relationship Id="rId5" Type="http://schemas.openxmlformats.org/officeDocument/2006/relationships/hyperlink" Target="http://www.studiocix.com/" TargetMode="External"/><Relationship Id="rId4" Type="http://schemas.openxmlformats.org/officeDocument/2006/relationships/hyperlink" Target="https://calendly.com/anoukpienin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C1F862-43AA-951A-7C07-CF129526C7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" name="Freeform 60">
            <a:extLst>
              <a:ext uri="{FF2B5EF4-FFF2-40B4-BE49-F238E27FC236}">
                <a16:creationId xmlns:a16="http://schemas.microsoft.com/office/drawing/2014/main" id="{FC3E69B6-75C8-EA4E-AF01-9633227B63DF}"/>
              </a:ext>
            </a:extLst>
          </p:cNvPr>
          <p:cNvSpPr/>
          <p:nvPr/>
        </p:nvSpPr>
        <p:spPr>
          <a:xfrm rot="6536731" flipV="1">
            <a:off x="9406839" y="5169297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94" name="Freeform 59">
            <a:extLst>
              <a:ext uri="{FF2B5EF4-FFF2-40B4-BE49-F238E27FC236}">
                <a16:creationId xmlns:a16="http://schemas.microsoft.com/office/drawing/2014/main" id="{0E887FB0-50BA-9D37-1F3A-0F0CAFC207E1}"/>
              </a:ext>
            </a:extLst>
          </p:cNvPr>
          <p:cNvSpPr>
            <a:spLocks noChangeAspect="1"/>
          </p:cNvSpPr>
          <p:nvPr/>
        </p:nvSpPr>
        <p:spPr>
          <a:xfrm rot="1136731" flipH="1" flipV="1">
            <a:off x="9633663" y="5215380"/>
            <a:ext cx="738803" cy="713832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4" name="Freeform 9">
            <a:extLst>
              <a:ext uri="{FF2B5EF4-FFF2-40B4-BE49-F238E27FC236}">
                <a16:creationId xmlns:a16="http://schemas.microsoft.com/office/drawing/2014/main" id="{4093086C-35CA-50EF-3D84-3AD470376CF5}"/>
              </a:ext>
            </a:extLst>
          </p:cNvPr>
          <p:cNvSpPr>
            <a:spLocks noChangeAspect="1"/>
          </p:cNvSpPr>
          <p:nvPr/>
        </p:nvSpPr>
        <p:spPr>
          <a:xfrm rot="5400000">
            <a:off x="7543627" y="1352054"/>
            <a:ext cx="2697870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75" name="Freeform 10">
            <a:extLst>
              <a:ext uri="{FF2B5EF4-FFF2-40B4-BE49-F238E27FC236}">
                <a16:creationId xmlns:a16="http://schemas.microsoft.com/office/drawing/2014/main" id="{CD9E5CFA-5C9E-A806-2C61-0768A6A089EC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1578713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6" name="Freeform 10">
            <a:extLst>
              <a:ext uri="{FF2B5EF4-FFF2-40B4-BE49-F238E27FC236}">
                <a16:creationId xmlns:a16="http://schemas.microsoft.com/office/drawing/2014/main" id="{90EBA8A3-7EF9-B6E4-7C0C-DE153D3AC112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69655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7" name="Freeform 10">
            <a:extLst>
              <a:ext uri="{FF2B5EF4-FFF2-40B4-BE49-F238E27FC236}">
                <a16:creationId xmlns:a16="http://schemas.microsoft.com/office/drawing/2014/main" id="{71B73B9C-E1A4-4B11-B8F0-427F01788783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240987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09" name="Freeform 60">
            <a:extLst>
              <a:ext uri="{FF2B5EF4-FFF2-40B4-BE49-F238E27FC236}">
                <a16:creationId xmlns:a16="http://schemas.microsoft.com/office/drawing/2014/main" id="{7B0CDDE1-2F3D-0747-EB1C-A33719739E5F}"/>
              </a:ext>
            </a:extLst>
          </p:cNvPr>
          <p:cNvSpPr/>
          <p:nvPr/>
        </p:nvSpPr>
        <p:spPr>
          <a:xfrm flipV="1">
            <a:off x="2683451" y="4574046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61" name="Freeform 59">
            <a:extLst>
              <a:ext uri="{FF2B5EF4-FFF2-40B4-BE49-F238E27FC236}">
                <a16:creationId xmlns:a16="http://schemas.microsoft.com/office/drawing/2014/main" id="{6280F466-3BBC-D0E7-32A4-2CD7F91A33F5}"/>
              </a:ext>
            </a:extLst>
          </p:cNvPr>
          <p:cNvSpPr>
            <a:spLocks noChangeAspect="1"/>
          </p:cNvSpPr>
          <p:nvPr/>
        </p:nvSpPr>
        <p:spPr>
          <a:xfrm rot="16200000" flipH="1" flipV="1">
            <a:off x="2675919" y="4575521"/>
            <a:ext cx="738803" cy="713832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1" name="Freeform 9">
            <a:extLst>
              <a:ext uri="{FF2B5EF4-FFF2-40B4-BE49-F238E27FC236}">
                <a16:creationId xmlns:a16="http://schemas.microsoft.com/office/drawing/2014/main" id="{267582C5-01C2-BADF-A8A6-2181DC26D9B7}"/>
              </a:ext>
            </a:extLst>
          </p:cNvPr>
          <p:cNvSpPr>
            <a:spLocks noChangeAspect="1"/>
          </p:cNvSpPr>
          <p:nvPr/>
        </p:nvSpPr>
        <p:spPr>
          <a:xfrm rot="5400000">
            <a:off x="8782610" y="3006111"/>
            <a:ext cx="2426234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2" name="Freeform 10">
            <a:extLst>
              <a:ext uri="{FF2B5EF4-FFF2-40B4-BE49-F238E27FC236}">
                <a16:creationId xmlns:a16="http://schemas.microsoft.com/office/drawing/2014/main" id="{08877889-98D3-7352-F4BA-786572ACB6FD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3231450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53" name="Freeform 10">
            <a:extLst>
              <a:ext uri="{FF2B5EF4-FFF2-40B4-BE49-F238E27FC236}">
                <a16:creationId xmlns:a16="http://schemas.microsoft.com/office/drawing/2014/main" id="{3A84F7A1-C486-0072-A6C0-DDB28916CC68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2438111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4" name="Freeform 10">
            <a:extLst>
              <a:ext uri="{FF2B5EF4-FFF2-40B4-BE49-F238E27FC236}">
                <a16:creationId xmlns:a16="http://schemas.microsoft.com/office/drawing/2014/main" id="{0D5A98C7-13D5-B7FA-D337-76E42BF521D1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3978923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grpSp>
        <p:nvGrpSpPr>
          <p:cNvPr id="2238" name="Group 2237">
            <a:extLst>
              <a:ext uri="{FF2B5EF4-FFF2-40B4-BE49-F238E27FC236}">
                <a16:creationId xmlns:a16="http://schemas.microsoft.com/office/drawing/2014/main" id="{BB668197-5106-9B2B-DEBD-04FA9290B6C8}"/>
              </a:ext>
            </a:extLst>
          </p:cNvPr>
          <p:cNvGrpSpPr/>
          <p:nvPr/>
        </p:nvGrpSpPr>
        <p:grpSpPr>
          <a:xfrm rot="11792010">
            <a:off x="8287368" y="4441770"/>
            <a:ext cx="929034" cy="928723"/>
            <a:chOff x="2606422" y="4004577"/>
            <a:chExt cx="929034" cy="928723"/>
          </a:xfrm>
          <a:solidFill>
            <a:schemeClr val="tx2"/>
          </a:solidFill>
        </p:grpSpPr>
        <p:sp>
          <p:nvSpPr>
            <p:cNvPr id="2239" name="Freeform 60">
              <a:extLst>
                <a:ext uri="{FF2B5EF4-FFF2-40B4-BE49-F238E27FC236}">
                  <a16:creationId xmlns:a16="http://schemas.microsoft.com/office/drawing/2014/main" id="{5CECC5A7-F971-0AE4-EB95-3C79B80DBAA9}"/>
                </a:ext>
              </a:extLst>
            </p:cNvPr>
            <p:cNvSpPr/>
            <p:nvPr/>
          </p:nvSpPr>
          <p:spPr>
            <a:xfrm rot="10800000" flipH="1" flipV="1">
              <a:off x="2606422" y="4004577"/>
              <a:ext cx="929034" cy="928723"/>
            </a:xfrm>
            <a:custGeom>
              <a:avLst/>
              <a:gdLst>
                <a:gd name="connsiteX0" fmla="*/ 0 w 495734"/>
                <a:gd name="connsiteY0" fmla="*/ 0 h 495568"/>
                <a:gd name="connsiteX1" fmla="*/ 0 w 495734"/>
                <a:gd name="connsiteY1" fmla="*/ 233999 h 495568"/>
                <a:gd name="connsiteX2" fmla="*/ 261656 w 495734"/>
                <a:gd name="connsiteY2" fmla="*/ 495568 h 495568"/>
                <a:gd name="connsiteX3" fmla="*/ 495734 w 495734"/>
                <a:gd name="connsiteY3" fmla="*/ 495568 h 495568"/>
                <a:gd name="connsiteX4" fmla="*/ 0 w 495734"/>
                <a:gd name="connsiteY4" fmla="*/ 0 h 49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734" h="495568">
                  <a:moveTo>
                    <a:pt x="0" y="0"/>
                  </a:moveTo>
                  <a:lnTo>
                    <a:pt x="0" y="233999"/>
                  </a:lnTo>
                  <a:cubicBezTo>
                    <a:pt x="144239" y="233999"/>
                    <a:pt x="261656" y="351309"/>
                    <a:pt x="261656" y="495568"/>
                  </a:cubicBezTo>
                  <a:lnTo>
                    <a:pt x="495734" y="495568"/>
                  </a:lnTo>
                  <a:cubicBezTo>
                    <a:pt x="495734" y="222351"/>
                    <a:pt x="273378" y="0"/>
                    <a:pt x="0" y="0"/>
                  </a:cubicBezTo>
                  <a:close/>
                </a:path>
              </a:pathLst>
            </a:custGeom>
            <a:grpFill/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240" name="Freeform 59">
              <a:extLst>
                <a:ext uri="{FF2B5EF4-FFF2-40B4-BE49-F238E27FC236}">
                  <a16:creationId xmlns:a16="http://schemas.microsoft.com/office/drawing/2014/main" id="{AC0555A1-D9A3-3D84-D085-E7A514EC63C6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 flipV="1">
              <a:off x="2606422" y="4213958"/>
              <a:ext cx="719709" cy="686401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accent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sp>
        <p:nvSpPr>
          <p:cNvPr id="2248" name="Freeform 60">
            <a:extLst>
              <a:ext uri="{FF2B5EF4-FFF2-40B4-BE49-F238E27FC236}">
                <a16:creationId xmlns:a16="http://schemas.microsoft.com/office/drawing/2014/main" id="{1937642E-FE69-EF4B-5FB8-4E83AE3E0061}"/>
              </a:ext>
            </a:extLst>
          </p:cNvPr>
          <p:cNvSpPr/>
          <p:nvPr/>
        </p:nvSpPr>
        <p:spPr>
          <a:xfrm rot="11772233" flipV="1">
            <a:off x="8536381" y="3584609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49" name="Freeform 59">
            <a:extLst>
              <a:ext uri="{FF2B5EF4-FFF2-40B4-BE49-F238E27FC236}">
                <a16:creationId xmlns:a16="http://schemas.microsoft.com/office/drawing/2014/main" id="{FDABC73C-A54F-F2F6-9547-6ECB42C898B7}"/>
              </a:ext>
            </a:extLst>
          </p:cNvPr>
          <p:cNvSpPr>
            <a:spLocks noChangeAspect="1"/>
          </p:cNvSpPr>
          <p:nvPr/>
        </p:nvSpPr>
        <p:spPr>
          <a:xfrm rot="11772233" flipV="1">
            <a:off x="8716930" y="3819692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05" name="Freeform 60">
            <a:extLst>
              <a:ext uri="{FF2B5EF4-FFF2-40B4-BE49-F238E27FC236}">
                <a16:creationId xmlns:a16="http://schemas.microsoft.com/office/drawing/2014/main" id="{B1A95B9C-3D28-373E-0228-2208AC418F7D}"/>
              </a:ext>
            </a:extLst>
          </p:cNvPr>
          <p:cNvSpPr/>
          <p:nvPr/>
        </p:nvSpPr>
        <p:spPr>
          <a:xfrm flipV="1">
            <a:off x="1261786" y="2574734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06" name="Freeform 59">
            <a:extLst>
              <a:ext uri="{FF2B5EF4-FFF2-40B4-BE49-F238E27FC236}">
                <a16:creationId xmlns:a16="http://schemas.microsoft.com/office/drawing/2014/main" id="{B5B82871-8E60-3C69-4B53-EBE640CD524B}"/>
              </a:ext>
            </a:extLst>
          </p:cNvPr>
          <p:cNvSpPr>
            <a:spLocks noChangeAspect="1"/>
          </p:cNvSpPr>
          <p:nvPr/>
        </p:nvSpPr>
        <p:spPr>
          <a:xfrm flipV="1">
            <a:off x="1261786" y="2607676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1" name="Freeform 60">
            <a:extLst>
              <a:ext uri="{FF2B5EF4-FFF2-40B4-BE49-F238E27FC236}">
                <a16:creationId xmlns:a16="http://schemas.microsoft.com/office/drawing/2014/main" id="{8F30AC0A-280E-7614-BEFE-B3D9464C3CE0}"/>
              </a:ext>
            </a:extLst>
          </p:cNvPr>
          <p:cNvSpPr/>
          <p:nvPr/>
        </p:nvSpPr>
        <p:spPr>
          <a:xfrm rot="10800000" flipV="1">
            <a:off x="1752430" y="1652947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2" name="Freeform 59">
            <a:extLst>
              <a:ext uri="{FF2B5EF4-FFF2-40B4-BE49-F238E27FC236}">
                <a16:creationId xmlns:a16="http://schemas.microsoft.com/office/drawing/2014/main" id="{52089772-9E6A-1B1C-15FE-12C9E1285C6C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1961755" y="1862328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3" name="Freeform 60">
            <a:extLst>
              <a:ext uri="{FF2B5EF4-FFF2-40B4-BE49-F238E27FC236}">
                <a16:creationId xmlns:a16="http://schemas.microsoft.com/office/drawing/2014/main" id="{E081B62A-1893-01C8-C907-1374CC478CDF}"/>
              </a:ext>
            </a:extLst>
          </p:cNvPr>
          <p:cNvSpPr/>
          <p:nvPr/>
        </p:nvSpPr>
        <p:spPr>
          <a:xfrm rot="10800000" flipH="1" flipV="1">
            <a:off x="2681463" y="1653773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4" name="Freeform 59">
            <a:extLst>
              <a:ext uri="{FF2B5EF4-FFF2-40B4-BE49-F238E27FC236}">
                <a16:creationId xmlns:a16="http://schemas.microsoft.com/office/drawing/2014/main" id="{55D11AF1-5737-9FED-A37C-517CD4E5A9CD}"/>
              </a:ext>
            </a:extLst>
          </p:cNvPr>
          <p:cNvSpPr>
            <a:spLocks noChangeAspect="1"/>
          </p:cNvSpPr>
          <p:nvPr/>
        </p:nvSpPr>
        <p:spPr>
          <a:xfrm rot="10800000" flipH="1" flipV="1">
            <a:off x="2681463" y="1863154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077" name="Graphic 2076">
            <a:extLst>
              <a:ext uri="{FF2B5EF4-FFF2-40B4-BE49-F238E27FC236}">
                <a16:creationId xmlns:a16="http://schemas.microsoft.com/office/drawing/2014/main" id="{4489C193-0E43-B4F3-6B06-1DB4E6A7885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68479" y="3070757"/>
            <a:ext cx="301602" cy="301602"/>
          </a:xfrm>
          <a:prstGeom prst="rect">
            <a:avLst/>
          </a:prstGeom>
        </p:spPr>
      </p:pic>
      <p:sp>
        <p:nvSpPr>
          <p:cNvPr id="2117" name="Freeform 9">
            <a:extLst>
              <a:ext uri="{FF2B5EF4-FFF2-40B4-BE49-F238E27FC236}">
                <a16:creationId xmlns:a16="http://schemas.microsoft.com/office/drawing/2014/main" id="{2B0CCFD3-3CED-B195-1D11-EA89DD4D95A1}"/>
              </a:ext>
            </a:extLst>
          </p:cNvPr>
          <p:cNvSpPr>
            <a:spLocks noChangeAspect="1"/>
          </p:cNvSpPr>
          <p:nvPr/>
        </p:nvSpPr>
        <p:spPr>
          <a:xfrm rot="5400000">
            <a:off x="2056877" y="3684578"/>
            <a:ext cx="2671639" cy="435600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18" name="Freeform 10">
            <a:extLst>
              <a:ext uri="{FF2B5EF4-FFF2-40B4-BE49-F238E27FC236}">
                <a16:creationId xmlns:a16="http://schemas.microsoft.com/office/drawing/2014/main" id="{068E7565-D28F-E37A-07BE-1F5966B605BB}"/>
              </a:ext>
            </a:extLst>
          </p:cNvPr>
          <p:cNvSpPr>
            <a:spLocks noChangeAspect="1"/>
          </p:cNvSpPr>
          <p:nvPr/>
        </p:nvSpPr>
        <p:spPr>
          <a:xfrm rot="5400000">
            <a:off x="2973429" y="3907661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9" name="Freeform 10">
            <a:extLst>
              <a:ext uri="{FF2B5EF4-FFF2-40B4-BE49-F238E27FC236}">
                <a16:creationId xmlns:a16="http://schemas.microsoft.com/office/drawing/2014/main" id="{99F86552-8453-E072-78CF-1C530BE6E5AE}"/>
              </a:ext>
            </a:extLst>
          </p:cNvPr>
          <p:cNvSpPr>
            <a:spLocks noChangeAspect="1"/>
          </p:cNvSpPr>
          <p:nvPr/>
        </p:nvSpPr>
        <p:spPr>
          <a:xfrm rot="5400000">
            <a:off x="2973429" y="302550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0" name="Freeform 10">
            <a:extLst>
              <a:ext uri="{FF2B5EF4-FFF2-40B4-BE49-F238E27FC236}">
                <a16:creationId xmlns:a16="http://schemas.microsoft.com/office/drawing/2014/main" id="{700A37ED-E80A-E48F-0FD9-F553D62AE215}"/>
              </a:ext>
            </a:extLst>
          </p:cNvPr>
          <p:cNvSpPr>
            <a:spLocks noChangeAspect="1"/>
          </p:cNvSpPr>
          <p:nvPr/>
        </p:nvSpPr>
        <p:spPr>
          <a:xfrm rot="5400000">
            <a:off x="2975313" y="4811728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5" name="Freeform 60">
            <a:extLst>
              <a:ext uri="{FF2B5EF4-FFF2-40B4-BE49-F238E27FC236}">
                <a16:creationId xmlns:a16="http://schemas.microsoft.com/office/drawing/2014/main" id="{97AA5F91-CFD2-FE91-8996-E88F0AEC074F}"/>
              </a:ext>
            </a:extLst>
          </p:cNvPr>
          <p:cNvSpPr/>
          <p:nvPr/>
        </p:nvSpPr>
        <p:spPr>
          <a:xfrm flipH="1" flipV="1">
            <a:off x="3174894" y="5224470"/>
            <a:ext cx="923639" cy="935412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6" name="Freeform 59">
            <a:extLst>
              <a:ext uri="{FF2B5EF4-FFF2-40B4-BE49-F238E27FC236}">
                <a16:creationId xmlns:a16="http://schemas.microsoft.com/office/drawing/2014/main" id="{250AE991-7036-BE5B-86D6-3A9BC07807C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3383003" y="5257648"/>
            <a:ext cx="715530" cy="691345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28" name="Graphic 2127">
            <a:extLst>
              <a:ext uri="{FF2B5EF4-FFF2-40B4-BE49-F238E27FC236}">
                <a16:creationId xmlns:a16="http://schemas.microsoft.com/office/drawing/2014/main" id="{C639680E-FAEA-EDA7-B144-9FDF8A84A885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5965520" y="5793165"/>
            <a:ext cx="301602" cy="301602"/>
          </a:xfrm>
          <a:prstGeom prst="rect">
            <a:avLst/>
          </a:prstGeom>
        </p:spPr>
      </p:pic>
      <p:sp>
        <p:nvSpPr>
          <p:cNvPr id="2129" name="Freeform 9">
            <a:extLst>
              <a:ext uri="{FF2B5EF4-FFF2-40B4-BE49-F238E27FC236}">
                <a16:creationId xmlns:a16="http://schemas.microsoft.com/office/drawing/2014/main" id="{E2FD0293-F6F9-BA5D-3DD7-258B1010A30D}"/>
              </a:ext>
            </a:extLst>
          </p:cNvPr>
          <p:cNvSpPr>
            <a:spLocks noChangeAspect="1"/>
          </p:cNvSpPr>
          <p:nvPr/>
        </p:nvSpPr>
        <p:spPr>
          <a:xfrm rot="10800000">
            <a:off x="4087195" y="5718388"/>
            <a:ext cx="2697870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0" name="Freeform 10">
            <a:extLst>
              <a:ext uri="{FF2B5EF4-FFF2-40B4-BE49-F238E27FC236}">
                <a16:creationId xmlns:a16="http://schemas.microsoft.com/office/drawing/2014/main" id="{DA82E1B5-644C-33DC-E08F-C4491F055827}"/>
              </a:ext>
            </a:extLst>
          </p:cNvPr>
          <p:cNvSpPr>
            <a:spLocks noChangeAspect="1"/>
          </p:cNvSpPr>
          <p:nvPr/>
        </p:nvSpPr>
        <p:spPr>
          <a:xfrm rot="10800000">
            <a:off x="5003749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1" name="Freeform 10">
            <a:extLst>
              <a:ext uri="{FF2B5EF4-FFF2-40B4-BE49-F238E27FC236}">
                <a16:creationId xmlns:a16="http://schemas.microsoft.com/office/drawing/2014/main" id="{3653A488-E485-021B-46D3-737E480FDCED}"/>
              </a:ext>
            </a:extLst>
          </p:cNvPr>
          <p:cNvSpPr>
            <a:spLocks noChangeAspect="1"/>
          </p:cNvSpPr>
          <p:nvPr/>
        </p:nvSpPr>
        <p:spPr>
          <a:xfrm rot="10800000">
            <a:off x="5885908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4" name="Freeform 60">
            <a:extLst>
              <a:ext uri="{FF2B5EF4-FFF2-40B4-BE49-F238E27FC236}">
                <a16:creationId xmlns:a16="http://schemas.microsoft.com/office/drawing/2014/main" id="{359A966E-EDE8-85CF-125D-78A4700908B4}"/>
              </a:ext>
            </a:extLst>
          </p:cNvPr>
          <p:cNvSpPr/>
          <p:nvPr/>
        </p:nvSpPr>
        <p:spPr>
          <a:xfrm rot="10800000" flipV="1">
            <a:off x="7252721" y="4328687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35" name="Freeform 59">
            <a:extLst>
              <a:ext uri="{FF2B5EF4-FFF2-40B4-BE49-F238E27FC236}">
                <a16:creationId xmlns:a16="http://schemas.microsoft.com/office/drawing/2014/main" id="{EF657CA4-ACAD-2320-9428-4D215EEE9BA1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462046" y="4538068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1" name="Freeform 60">
            <a:extLst>
              <a:ext uri="{FF2B5EF4-FFF2-40B4-BE49-F238E27FC236}">
                <a16:creationId xmlns:a16="http://schemas.microsoft.com/office/drawing/2014/main" id="{CF27AA22-D72B-3210-3B82-31C33AEB443F}"/>
              </a:ext>
            </a:extLst>
          </p:cNvPr>
          <p:cNvSpPr/>
          <p:nvPr/>
        </p:nvSpPr>
        <p:spPr>
          <a:xfrm flipV="1">
            <a:off x="6764684" y="5224469"/>
            <a:ext cx="929034" cy="935412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2" name="Freeform 59">
            <a:extLst>
              <a:ext uri="{FF2B5EF4-FFF2-40B4-BE49-F238E27FC236}">
                <a16:creationId xmlns:a16="http://schemas.microsoft.com/office/drawing/2014/main" id="{1E6043F5-5E33-7C83-BEA3-4F4CC3B24FBC}"/>
              </a:ext>
            </a:extLst>
          </p:cNvPr>
          <p:cNvSpPr>
            <a:spLocks noChangeAspect="1"/>
          </p:cNvSpPr>
          <p:nvPr/>
        </p:nvSpPr>
        <p:spPr>
          <a:xfrm flipV="1">
            <a:off x="6764684" y="5257647"/>
            <a:ext cx="719709" cy="691345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44" name="Freeform 60">
            <a:extLst>
              <a:ext uri="{FF2B5EF4-FFF2-40B4-BE49-F238E27FC236}">
                <a16:creationId xmlns:a16="http://schemas.microsoft.com/office/drawing/2014/main" id="{FEA0B027-5F86-90B6-7EB2-D60A29643B40}"/>
              </a:ext>
            </a:extLst>
          </p:cNvPr>
          <p:cNvSpPr/>
          <p:nvPr/>
        </p:nvSpPr>
        <p:spPr>
          <a:xfrm flipV="1">
            <a:off x="8179641" y="3839494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45" name="Freeform 59">
            <a:extLst>
              <a:ext uri="{FF2B5EF4-FFF2-40B4-BE49-F238E27FC236}">
                <a16:creationId xmlns:a16="http://schemas.microsoft.com/office/drawing/2014/main" id="{BA853758-E415-7111-8C03-F951FD211731}"/>
              </a:ext>
            </a:extLst>
          </p:cNvPr>
          <p:cNvSpPr>
            <a:spLocks noChangeAspect="1"/>
          </p:cNvSpPr>
          <p:nvPr/>
        </p:nvSpPr>
        <p:spPr>
          <a:xfrm flipV="1">
            <a:off x="8179641" y="387243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47" name="Freeform 60">
            <a:extLst>
              <a:ext uri="{FF2B5EF4-FFF2-40B4-BE49-F238E27FC236}">
                <a16:creationId xmlns:a16="http://schemas.microsoft.com/office/drawing/2014/main" id="{41AF338C-4DD7-B4D8-284C-268BA12C2B91}"/>
              </a:ext>
            </a:extLst>
          </p:cNvPr>
          <p:cNvSpPr/>
          <p:nvPr/>
        </p:nvSpPr>
        <p:spPr>
          <a:xfrm rot="10800000" flipV="1">
            <a:off x="8670393" y="1999344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48" name="Freeform 59">
            <a:extLst>
              <a:ext uri="{FF2B5EF4-FFF2-40B4-BE49-F238E27FC236}">
                <a16:creationId xmlns:a16="http://schemas.microsoft.com/office/drawing/2014/main" id="{FAD0C0F7-2691-E88F-6923-B4135EA44A00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8879718" y="220872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50" name="Graphic 2149">
            <a:extLst>
              <a:ext uri="{FF2B5EF4-FFF2-40B4-BE49-F238E27FC236}">
                <a16:creationId xmlns:a16="http://schemas.microsoft.com/office/drawing/2014/main" id="{C2AF7E66-97DB-6AAB-5B1F-8AC6A36335E8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61877" y="3418156"/>
            <a:ext cx="301602" cy="301602"/>
          </a:xfrm>
          <a:prstGeom prst="rect">
            <a:avLst/>
          </a:prstGeom>
        </p:spPr>
      </p:pic>
      <p:sp>
        <p:nvSpPr>
          <p:cNvPr id="2151" name="Freeform 9">
            <a:extLst>
              <a:ext uri="{FF2B5EF4-FFF2-40B4-BE49-F238E27FC236}">
                <a16:creationId xmlns:a16="http://schemas.microsoft.com/office/drawing/2014/main" id="{402EECFA-8CEF-84A0-261C-B285572C4DB3}"/>
              </a:ext>
            </a:extLst>
          </p:cNvPr>
          <p:cNvSpPr>
            <a:spLocks noChangeAspect="1"/>
          </p:cNvSpPr>
          <p:nvPr/>
        </p:nvSpPr>
        <p:spPr>
          <a:xfrm rot="5400000">
            <a:off x="8425172" y="3162560"/>
            <a:ext cx="928723" cy="438282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54" name="Freeform 10">
            <a:extLst>
              <a:ext uri="{FF2B5EF4-FFF2-40B4-BE49-F238E27FC236}">
                <a16:creationId xmlns:a16="http://schemas.microsoft.com/office/drawing/2014/main" id="{93489884-1032-18CF-43B5-F7D79EE2F58F}"/>
              </a:ext>
            </a:extLst>
          </p:cNvPr>
          <p:cNvSpPr>
            <a:spLocks noChangeAspect="1"/>
          </p:cNvSpPr>
          <p:nvPr/>
        </p:nvSpPr>
        <p:spPr>
          <a:xfrm rot="5400000">
            <a:off x="8433146" y="3377714"/>
            <a:ext cx="900000" cy="15455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57" name="Freeform 10">
            <a:extLst>
              <a:ext uri="{FF2B5EF4-FFF2-40B4-BE49-F238E27FC236}">
                <a16:creationId xmlns:a16="http://schemas.microsoft.com/office/drawing/2014/main" id="{5C518279-9DBE-95EE-9FF8-A084DE54E833}"/>
              </a:ext>
            </a:extLst>
          </p:cNvPr>
          <p:cNvSpPr>
            <a:spLocks noChangeAspect="1"/>
          </p:cNvSpPr>
          <p:nvPr/>
        </p:nvSpPr>
        <p:spPr>
          <a:xfrm rot="10800000">
            <a:off x="4172590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62" name="Graphic 2161">
            <a:extLst>
              <a:ext uri="{FF2B5EF4-FFF2-40B4-BE49-F238E27FC236}">
                <a16:creationId xmlns:a16="http://schemas.microsoft.com/office/drawing/2014/main" id="{8913C5E6-12EF-9BD3-D80F-889DE22D22C1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1451056" y="2065131"/>
            <a:ext cx="301602" cy="301602"/>
          </a:xfrm>
          <a:prstGeom prst="rect">
            <a:avLst/>
          </a:prstGeom>
        </p:spPr>
      </p:pic>
      <p:sp>
        <p:nvSpPr>
          <p:cNvPr id="2163" name="Freeform 9">
            <a:extLst>
              <a:ext uri="{FF2B5EF4-FFF2-40B4-BE49-F238E27FC236}">
                <a16:creationId xmlns:a16="http://schemas.microsoft.com/office/drawing/2014/main" id="{46576269-3E79-5D8F-8996-ACA72A53C7A2}"/>
              </a:ext>
            </a:extLst>
          </p:cNvPr>
          <p:cNvSpPr>
            <a:spLocks noChangeAspect="1"/>
          </p:cNvSpPr>
          <p:nvPr/>
        </p:nvSpPr>
        <p:spPr>
          <a:xfrm rot="10800000">
            <a:off x="9585216" y="1999343"/>
            <a:ext cx="2671639" cy="43874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4" name="Freeform 10">
            <a:extLst>
              <a:ext uri="{FF2B5EF4-FFF2-40B4-BE49-F238E27FC236}">
                <a16:creationId xmlns:a16="http://schemas.microsoft.com/office/drawing/2014/main" id="{034E5636-8E57-A77C-323E-B4BC7F1800D1}"/>
              </a:ext>
            </a:extLst>
          </p:cNvPr>
          <p:cNvSpPr>
            <a:spLocks noChangeAspect="1"/>
          </p:cNvSpPr>
          <p:nvPr/>
        </p:nvSpPr>
        <p:spPr>
          <a:xfrm rot="10800000">
            <a:off x="10489285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5" name="Freeform 10">
            <a:extLst>
              <a:ext uri="{FF2B5EF4-FFF2-40B4-BE49-F238E27FC236}">
                <a16:creationId xmlns:a16="http://schemas.microsoft.com/office/drawing/2014/main" id="{59C3C2C5-362A-0889-91C5-3CD18C03CCE9}"/>
              </a:ext>
            </a:extLst>
          </p:cNvPr>
          <p:cNvSpPr>
            <a:spLocks noChangeAspect="1"/>
          </p:cNvSpPr>
          <p:nvPr/>
        </p:nvSpPr>
        <p:spPr>
          <a:xfrm rot="10800000">
            <a:off x="11371444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6" name="Freeform 10">
            <a:extLst>
              <a:ext uri="{FF2B5EF4-FFF2-40B4-BE49-F238E27FC236}">
                <a16:creationId xmlns:a16="http://schemas.microsoft.com/office/drawing/2014/main" id="{9521452B-DDDB-8A9A-1B77-E5A05F7E89DD}"/>
              </a:ext>
            </a:extLst>
          </p:cNvPr>
          <p:cNvSpPr>
            <a:spLocks noChangeAspect="1"/>
          </p:cNvSpPr>
          <p:nvPr/>
        </p:nvSpPr>
        <p:spPr>
          <a:xfrm rot="10800000">
            <a:off x="9658126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67" name="Graphic 2166">
            <a:extLst>
              <a:ext uri="{FF2B5EF4-FFF2-40B4-BE49-F238E27FC236}">
                <a16:creationId xmlns:a16="http://schemas.microsoft.com/office/drawing/2014/main" id="{E75DE6D5-A612-039C-0ACA-4DCA94302AAA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467333" y="3132313"/>
            <a:ext cx="301602" cy="301602"/>
          </a:xfrm>
          <a:prstGeom prst="rect">
            <a:avLst/>
          </a:prstGeom>
        </p:spPr>
      </p:pic>
      <p:sp>
        <p:nvSpPr>
          <p:cNvPr id="2168" name="Freeform 9">
            <a:extLst>
              <a:ext uri="{FF2B5EF4-FFF2-40B4-BE49-F238E27FC236}">
                <a16:creationId xmlns:a16="http://schemas.microsoft.com/office/drawing/2014/main" id="{5526D3F3-7695-D775-E3C6-F684C403563C}"/>
              </a:ext>
            </a:extLst>
          </p:cNvPr>
          <p:cNvSpPr>
            <a:spLocks noChangeAspect="1"/>
          </p:cNvSpPr>
          <p:nvPr/>
        </p:nvSpPr>
        <p:spPr>
          <a:xfrm rot="10800000">
            <a:off x="-1398506" y="3065314"/>
            <a:ext cx="2671639" cy="435600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9" name="Freeform 10">
            <a:extLst>
              <a:ext uri="{FF2B5EF4-FFF2-40B4-BE49-F238E27FC236}">
                <a16:creationId xmlns:a16="http://schemas.microsoft.com/office/drawing/2014/main" id="{154666D1-899F-E256-F2E9-D74F9E682A69}"/>
              </a:ext>
            </a:extLst>
          </p:cNvPr>
          <p:cNvSpPr>
            <a:spLocks noChangeAspect="1"/>
          </p:cNvSpPr>
          <p:nvPr/>
        </p:nvSpPr>
        <p:spPr>
          <a:xfrm rot="10800000">
            <a:off x="-494438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0" name="Freeform 10">
            <a:extLst>
              <a:ext uri="{FF2B5EF4-FFF2-40B4-BE49-F238E27FC236}">
                <a16:creationId xmlns:a16="http://schemas.microsoft.com/office/drawing/2014/main" id="{553C7B48-11C3-3396-1109-8DB07CAAE40C}"/>
              </a:ext>
            </a:extLst>
          </p:cNvPr>
          <p:cNvSpPr>
            <a:spLocks noChangeAspect="1"/>
          </p:cNvSpPr>
          <p:nvPr/>
        </p:nvSpPr>
        <p:spPr>
          <a:xfrm rot="10800000">
            <a:off x="387721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1" name="Freeform 10">
            <a:extLst>
              <a:ext uri="{FF2B5EF4-FFF2-40B4-BE49-F238E27FC236}">
                <a16:creationId xmlns:a16="http://schemas.microsoft.com/office/drawing/2014/main" id="{D6EFD064-D5D9-F619-9FCC-19AF36F71E08}"/>
              </a:ext>
            </a:extLst>
          </p:cNvPr>
          <p:cNvSpPr>
            <a:spLocks noChangeAspect="1"/>
          </p:cNvSpPr>
          <p:nvPr/>
        </p:nvSpPr>
        <p:spPr>
          <a:xfrm rot="10800000">
            <a:off x="-1325597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4" name="TextBox 2173">
            <a:extLst>
              <a:ext uri="{FF2B5EF4-FFF2-40B4-BE49-F238E27FC236}">
                <a16:creationId xmlns:a16="http://schemas.microsoft.com/office/drawing/2014/main" id="{63E66A44-5FA5-2146-D5A0-BE10C3C24060}"/>
              </a:ext>
            </a:extLst>
          </p:cNvPr>
          <p:cNvSpPr txBox="1"/>
          <p:nvPr/>
        </p:nvSpPr>
        <p:spPr>
          <a:xfrm>
            <a:off x="90149" y="1279608"/>
            <a:ext cx="1529822" cy="461665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Het gaat niet goed met m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B3F86DFD-AED4-AFF1-18E2-9DE4A316DA26}"/>
              </a:ext>
            </a:extLst>
          </p:cNvPr>
          <p:cNvSpPr/>
          <p:nvPr/>
        </p:nvSpPr>
        <p:spPr>
          <a:xfrm>
            <a:off x="160240" y="1855162"/>
            <a:ext cx="712894" cy="1323082"/>
          </a:xfrm>
          <a:custGeom>
            <a:avLst/>
            <a:gdLst>
              <a:gd name="connsiteX0" fmla="*/ 539632 w 712894"/>
              <a:gd name="connsiteY0" fmla="*/ 80819 h 1323082"/>
              <a:gd name="connsiteX1" fmla="*/ 460197 w 712894"/>
              <a:gd name="connsiteY1" fmla="*/ 77994 h 1323082"/>
              <a:gd name="connsiteX2" fmla="*/ 450282 w 712894"/>
              <a:gd name="connsiteY2" fmla="*/ 90734 h 1323082"/>
              <a:gd name="connsiteX3" fmla="*/ 325479 w 712894"/>
              <a:gd name="connsiteY3" fmla="*/ 0 h 1323082"/>
              <a:gd name="connsiteX4" fmla="*/ 193586 w 712894"/>
              <a:gd name="connsiteY4" fmla="*/ 131893 h 1323082"/>
              <a:gd name="connsiteX5" fmla="*/ 325479 w 712894"/>
              <a:gd name="connsiteY5" fmla="*/ 263786 h 1323082"/>
              <a:gd name="connsiteX6" fmla="*/ 454547 w 712894"/>
              <a:gd name="connsiteY6" fmla="*/ 154605 h 1323082"/>
              <a:gd name="connsiteX7" fmla="*/ 455987 w 712894"/>
              <a:gd name="connsiteY7" fmla="*/ 157430 h 1323082"/>
              <a:gd name="connsiteX8" fmla="*/ 583614 w 712894"/>
              <a:gd name="connsiteY8" fmla="*/ 316241 h 1323082"/>
              <a:gd name="connsiteX9" fmla="*/ 489998 w 712894"/>
              <a:gd name="connsiteY9" fmla="*/ 309150 h 1323082"/>
              <a:gd name="connsiteX10" fmla="*/ 400647 w 712894"/>
              <a:gd name="connsiteY10" fmla="*/ 303500 h 1323082"/>
              <a:gd name="connsiteX11" fmla="*/ 248927 w 712894"/>
              <a:gd name="connsiteY11" fmla="*/ 303445 h 1323082"/>
              <a:gd name="connsiteX12" fmla="*/ 63130 w 712894"/>
              <a:gd name="connsiteY12" fmla="*/ 501977 h 1323082"/>
              <a:gd name="connsiteX13" fmla="*/ 2196 w 712894"/>
              <a:gd name="connsiteY13" fmla="*/ 717511 h 1323082"/>
              <a:gd name="connsiteX14" fmla="*/ 40473 w 712894"/>
              <a:gd name="connsiteY14" fmla="*/ 786974 h 1323082"/>
              <a:gd name="connsiteX15" fmla="*/ 56095 w 712894"/>
              <a:gd name="connsiteY15" fmla="*/ 789799 h 1323082"/>
              <a:gd name="connsiteX16" fmla="*/ 109993 w 712894"/>
              <a:gd name="connsiteY16" fmla="*/ 748697 h 1323082"/>
              <a:gd name="connsiteX17" fmla="*/ 172366 w 712894"/>
              <a:gd name="connsiteY17" fmla="*/ 530341 h 1323082"/>
              <a:gd name="connsiteX18" fmla="*/ 195078 w 712894"/>
              <a:gd name="connsiteY18" fmla="*/ 475059 h 1323082"/>
              <a:gd name="connsiteX19" fmla="*/ 200729 w 712894"/>
              <a:gd name="connsiteY19" fmla="*/ 741672 h 1323082"/>
              <a:gd name="connsiteX20" fmla="*/ 136915 w 712894"/>
              <a:gd name="connsiteY20" fmla="*/ 1247913 h 1323082"/>
              <a:gd name="connsiteX21" fmla="*/ 193639 w 712894"/>
              <a:gd name="connsiteY21" fmla="*/ 1321642 h 1323082"/>
              <a:gd name="connsiteX22" fmla="*/ 267368 w 712894"/>
              <a:gd name="connsiteY22" fmla="*/ 1264919 h 1323082"/>
              <a:gd name="connsiteX23" fmla="*/ 325532 w 712894"/>
              <a:gd name="connsiteY23" fmla="*/ 804042 h 1323082"/>
              <a:gd name="connsiteX24" fmla="*/ 383696 w 712894"/>
              <a:gd name="connsiteY24" fmla="*/ 1264919 h 1323082"/>
              <a:gd name="connsiteX25" fmla="*/ 448950 w 712894"/>
              <a:gd name="connsiteY25" fmla="*/ 1323083 h 1323082"/>
              <a:gd name="connsiteX26" fmla="*/ 457480 w 712894"/>
              <a:gd name="connsiteY26" fmla="*/ 1323083 h 1323082"/>
              <a:gd name="connsiteX27" fmla="*/ 514203 w 712894"/>
              <a:gd name="connsiteY27" fmla="*/ 1249354 h 1323082"/>
              <a:gd name="connsiteX28" fmla="*/ 450390 w 712894"/>
              <a:gd name="connsiteY28" fmla="*/ 743113 h 1323082"/>
              <a:gd name="connsiteX29" fmla="*/ 455985 w 712894"/>
              <a:gd name="connsiteY29" fmla="*/ 418344 h 1323082"/>
              <a:gd name="connsiteX30" fmla="*/ 478697 w 712894"/>
              <a:gd name="connsiteY30" fmla="*/ 421169 h 1323082"/>
              <a:gd name="connsiteX31" fmla="*/ 587878 w 712894"/>
              <a:gd name="connsiteY31" fmla="*/ 428259 h 1323082"/>
              <a:gd name="connsiteX32" fmla="*/ 688585 w 712894"/>
              <a:gd name="connsiteY32" fmla="*/ 401338 h 1323082"/>
              <a:gd name="connsiteX33" fmla="*/ 712681 w 712894"/>
              <a:gd name="connsiteY33" fmla="*/ 350265 h 1323082"/>
              <a:gd name="connsiteX34" fmla="*/ 539632 w 712894"/>
              <a:gd name="connsiteY34" fmla="*/ 80829 h 1323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712894" h="1323082">
                <a:moveTo>
                  <a:pt x="539632" y="80819"/>
                </a:moveTo>
                <a:cubicBezTo>
                  <a:pt x="518361" y="58107"/>
                  <a:pt x="482909" y="56723"/>
                  <a:pt x="460197" y="77994"/>
                </a:cubicBezTo>
                <a:cubicBezTo>
                  <a:pt x="455931" y="82260"/>
                  <a:pt x="453107" y="86524"/>
                  <a:pt x="450282" y="90734"/>
                </a:cubicBezTo>
                <a:cubicBezTo>
                  <a:pt x="433276" y="38277"/>
                  <a:pt x="383643" y="0"/>
                  <a:pt x="325479" y="0"/>
                </a:cubicBezTo>
                <a:cubicBezTo>
                  <a:pt x="253134" y="0"/>
                  <a:pt x="193586" y="59548"/>
                  <a:pt x="193586" y="131893"/>
                </a:cubicBezTo>
                <a:cubicBezTo>
                  <a:pt x="193586" y="204238"/>
                  <a:pt x="253134" y="263786"/>
                  <a:pt x="325479" y="263786"/>
                </a:cubicBezTo>
                <a:cubicBezTo>
                  <a:pt x="390734" y="263786"/>
                  <a:pt x="444575" y="216978"/>
                  <a:pt x="454547" y="154605"/>
                </a:cubicBezTo>
                <a:cubicBezTo>
                  <a:pt x="455987" y="156045"/>
                  <a:pt x="455987" y="156045"/>
                  <a:pt x="455987" y="157430"/>
                </a:cubicBezTo>
                <a:cubicBezTo>
                  <a:pt x="508444" y="212712"/>
                  <a:pt x="558077" y="276526"/>
                  <a:pt x="583614" y="316241"/>
                </a:cubicBezTo>
                <a:cubicBezTo>
                  <a:pt x="553812" y="316241"/>
                  <a:pt x="514151" y="311976"/>
                  <a:pt x="489998" y="309150"/>
                </a:cubicBezTo>
                <a:cubicBezTo>
                  <a:pt x="457371" y="306325"/>
                  <a:pt x="426184" y="303500"/>
                  <a:pt x="400647" y="303500"/>
                </a:cubicBezTo>
                <a:lnTo>
                  <a:pt x="248927" y="303445"/>
                </a:lnTo>
                <a:cubicBezTo>
                  <a:pt x="138305" y="303445"/>
                  <a:pt x="77311" y="446700"/>
                  <a:pt x="63130" y="501977"/>
                </a:cubicBezTo>
                <a:cubicBezTo>
                  <a:pt x="58921" y="518982"/>
                  <a:pt x="17818" y="663666"/>
                  <a:pt x="2196" y="717511"/>
                </a:cubicBezTo>
                <a:cubicBezTo>
                  <a:pt x="-6334" y="747313"/>
                  <a:pt x="10727" y="778500"/>
                  <a:pt x="40473" y="786974"/>
                </a:cubicBezTo>
                <a:cubicBezTo>
                  <a:pt x="46124" y="788415"/>
                  <a:pt x="50390" y="789799"/>
                  <a:pt x="56095" y="789799"/>
                </a:cubicBezTo>
                <a:cubicBezTo>
                  <a:pt x="80191" y="789799"/>
                  <a:pt x="102903" y="774178"/>
                  <a:pt x="109993" y="748697"/>
                </a:cubicBezTo>
                <a:cubicBezTo>
                  <a:pt x="112819" y="740168"/>
                  <a:pt x="165276" y="552988"/>
                  <a:pt x="172366" y="530341"/>
                </a:cubicBezTo>
                <a:cubicBezTo>
                  <a:pt x="176632" y="513335"/>
                  <a:pt x="185108" y="493448"/>
                  <a:pt x="195078" y="475059"/>
                </a:cubicBezTo>
                <a:lnTo>
                  <a:pt x="200729" y="741672"/>
                </a:lnTo>
                <a:lnTo>
                  <a:pt x="136915" y="1247913"/>
                </a:lnTo>
                <a:cubicBezTo>
                  <a:pt x="132650" y="1283365"/>
                  <a:pt x="158187" y="1317377"/>
                  <a:pt x="193639" y="1321642"/>
                </a:cubicBezTo>
                <a:cubicBezTo>
                  <a:pt x="229091" y="1325908"/>
                  <a:pt x="263102" y="1300371"/>
                  <a:pt x="267368" y="1264919"/>
                </a:cubicBezTo>
                <a:lnTo>
                  <a:pt x="325532" y="804042"/>
                </a:lnTo>
                <a:lnTo>
                  <a:pt x="383696" y="1264919"/>
                </a:lnTo>
                <a:cubicBezTo>
                  <a:pt x="387961" y="1297546"/>
                  <a:pt x="416323" y="1323083"/>
                  <a:pt x="448950" y="1323083"/>
                </a:cubicBezTo>
                <a:lnTo>
                  <a:pt x="457480" y="1323083"/>
                </a:lnTo>
                <a:cubicBezTo>
                  <a:pt x="492932" y="1318818"/>
                  <a:pt x="518469" y="1286190"/>
                  <a:pt x="514203" y="1249354"/>
                </a:cubicBezTo>
                <a:lnTo>
                  <a:pt x="450390" y="743113"/>
                </a:lnTo>
                <a:lnTo>
                  <a:pt x="455985" y="418344"/>
                </a:lnTo>
                <a:cubicBezTo>
                  <a:pt x="463076" y="418344"/>
                  <a:pt x="471607" y="419785"/>
                  <a:pt x="478697" y="421169"/>
                </a:cubicBezTo>
                <a:cubicBezTo>
                  <a:pt x="521240" y="425434"/>
                  <a:pt x="556692" y="428259"/>
                  <a:pt x="587878" y="428259"/>
                </a:cubicBezTo>
                <a:cubicBezTo>
                  <a:pt x="633245" y="428259"/>
                  <a:pt x="665873" y="421169"/>
                  <a:pt x="688585" y="401338"/>
                </a:cubicBezTo>
                <a:cubicBezTo>
                  <a:pt x="702766" y="388598"/>
                  <a:pt x="711297" y="370152"/>
                  <a:pt x="712681" y="350265"/>
                </a:cubicBezTo>
                <a:cubicBezTo>
                  <a:pt x="716891" y="299191"/>
                  <a:pt x="658782" y="207010"/>
                  <a:pt x="539632" y="80829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bg1"/>
            </a:solidFill>
            <a:prstDash val="solid"/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248E1E6-A69B-16AB-4F1B-5C1E4823EF11}"/>
              </a:ext>
            </a:extLst>
          </p:cNvPr>
          <p:cNvSpPr/>
          <p:nvPr/>
        </p:nvSpPr>
        <p:spPr>
          <a:xfrm>
            <a:off x="101387" y="1829622"/>
            <a:ext cx="191722" cy="346052"/>
          </a:xfrm>
          <a:custGeom>
            <a:avLst/>
            <a:gdLst>
              <a:gd name="connsiteX0" fmla="*/ 131965 w 191722"/>
              <a:gd name="connsiteY0" fmla="*/ 331805 h 346052"/>
              <a:gd name="connsiteX1" fmla="*/ 103603 w 191722"/>
              <a:gd name="connsiteY1" fmla="*/ 209827 h 346052"/>
              <a:gd name="connsiteX2" fmla="*/ 180157 w 191722"/>
              <a:gd name="connsiteY2" fmla="*/ 209827 h 346052"/>
              <a:gd name="connsiteX3" fmla="*/ 191513 w 191722"/>
              <a:gd name="connsiteY3" fmla="*/ 195647 h 346052"/>
              <a:gd name="connsiteX4" fmla="*/ 141880 w 191722"/>
              <a:gd name="connsiteY4" fmla="*/ 8531 h 346052"/>
              <a:gd name="connsiteX5" fmla="*/ 130524 w 191722"/>
              <a:gd name="connsiteY5" fmla="*/ 0 h 346052"/>
              <a:gd name="connsiteX6" fmla="*/ 48264 w 191722"/>
              <a:gd name="connsiteY6" fmla="*/ 0 h 346052"/>
              <a:gd name="connsiteX7" fmla="*/ 38349 w 191722"/>
              <a:gd name="connsiteY7" fmla="*/ 15622 h 346052"/>
              <a:gd name="connsiteX8" fmla="*/ 83716 w 191722"/>
              <a:gd name="connsiteY8" fmla="*/ 130508 h 346052"/>
              <a:gd name="connsiteX9" fmla="*/ 11371 w 191722"/>
              <a:gd name="connsiteY9" fmla="*/ 130508 h 346052"/>
              <a:gd name="connsiteX10" fmla="*/ 1456 w 191722"/>
              <a:gd name="connsiteY10" fmla="*/ 147514 h 346052"/>
              <a:gd name="connsiteX11" fmla="*/ 110637 w 191722"/>
              <a:gd name="connsiteY11" fmla="*/ 340402 h 346052"/>
              <a:gd name="connsiteX12" fmla="*/ 131963 w 191722"/>
              <a:gd name="connsiteY12" fmla="*/ 331816 h 346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1722" h="346052">
                <a:moveTo>
                  <a:pt x="131965" y="331805"/>
                </a:moveTo>
                <a:lnTo>
                  <a:pt x="103603" y="209827"/>
                </a:lnTo>
                <a:lnTo>
                  <a:pt x="180157" y="209827"/>
                </a:lnTo>
                <a:cubicBezTo>
                  <a:pt x="187247" y="209827"/>
                  <a:pt x="192897" y="202737"/>
                  <a:pt x="191513" y="195647"/>
                </a:cubicBezTo>
                <a:lnTo>
                  <a:pt x="141880" y="8531"/>
                </a:lnTo>
                <a:cubicBezTo>
                  <a:pt x="140439" y="2880"/>
                  <a:pt x="136229" y="0"/>
                  <a:pt x="130524" y="0"/>
                </a:cubicBezTo>
                <a:lnTo>
                  <a:pt x="48264" y="0"/>
                </a:lnTo>
                <a:cubicBezTo>
                  <a:pt x="39733" y="0"/>
                  <a:pt x="34083" y="8531"/>
                  <a:pt x="38349" y="15622"/>
                </a:cubicBezTo>
                <a:lnTo>
                  <a:pt x="83716" y="130508"/>
                </a:lnTo>
                <a:lnTo>
                  <a:pt x="11371" y="130508"/>
                </a:lnTo>
                <a:cubicBezTo>
                  <a:pt x="2840" y="130508"/>
                  <a:pt x="-2810" y="140425"/>
                  <a:pt x="1456" y="147514"/>
                </a:cubicBezTo>
                <a:lnTo>
                  <a:pt x="110637" y="340402"/>
                </a:lnTo>
                <a:cubicBezTo>
                  <a:pt x="117783" y="351702"/>
                  <a:pt x="134788" y="344612"/>
                  <a:pt x="131963" y="331816"/>
                </a:cubicBezTo>
                <a:close/>
              </a:path>
            </a:pathLst>
          </a:custGeom>
          <a:solidFill>
            <a:schemeClr val="accent2"/>
          </a:solidFill>
          <a:ln w="140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76" name="TextBox 2175">
            <a:extLst>
              <a:ext uri="{FF2B5EF4-FFF2-40B4-BE49-F238E27FC236}">
                <a16:creationId xmlns:a16="http://schemas.microsoft.com/office/drawing/2014/main" id="{C5C97FB9-45ED-15E2-42E3-C6147B47AAD3}"/>
              </a:ext>
            </a:extLst>
          </p:cNvPr>
          <p:cNvSpPr txBox="1"/>
          <p:nvPr/>
        </p:nvSpPr>
        <p:spPr>
          <a:xfrm>
            <a:off x="2852679" y="886711"/>
            <a:ext cx="2491708" cy="438582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meld me zie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</a:t>
            </a:r>
            <a:r>
              <a:rPr lang="nl-NL" sz="1000" dirty="0">
                <a:solidFill>
                  <a:schemeClr val="accent2"/>
                </a:solidFill>
              </a:rPr>
              <a:t>&lt;</a:t>
            </a:r>
            <a:r>
              <a:rPr kumimoji="0" lang="nl-NL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 weken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177" name="TextBox 2176">
            <a:extLst>
              <a:ext uri="{FF2B5EF4-FFF2-40B4-BE49-F238E27FC236}">
                <a16:creationId xmlns:a16="http://schemas.microsoft.com/office/drawing/2014/main" id="{EB373B20-4061-9CDE-2A4B-7E90AC524A4E}"/>
              </a:ext>
            </a:extLst>
          </p:cNvPr>
          <p:cNvSpPr txBox="1"/>
          <p:nvPr/>
        </p:nvSpPr>
        <p:spPr>
          <a:xfrm>
            <a:off x="3632852" y="4195935"/>
            <a:ext cx="1565497" cy="461665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ben langer afwezi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179" name="TextBox 2178">
            <a:extLst>
              <a:ext uri="{FF2B5EF4-FFF2-40B4-BE49-F238E27FC236}">
                <a16:creationId xmlns:a16="http://schemas.microsoft.com/office/drawing/2014/main" id="{C0A16223-D15A-5853-535D-FBF709C66B22}"/>
              </a:ext>
            </a:extLst>
          </p:cNvPr>
          <p:cNvSpPr txBox="1"/>
          <p:nvPr/>
        </p:nvSpPr>
        <p:spPr>
          <a:xfrm>
            <a:off x="6652728" y="2420843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ga re-integrere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02A30AA-72F5-A143-BC7D-95BED6EC5380}"/>
              </a:ext>
            </a:extLst>
          </p:cNvPr>
          <p:cNvGrpSpPr/>
          <p:nvPr/>
        </p:nvGrpSpPr>
        <p:grpSpPr>
          <a:xfrm>
            <a:off x="7442022" y="2677937"/>
            <a:ext cx="1017771" cy="1143845"/>
            <a:chOff x="7480523" y="2428022"/>
            <a:chExt cx="1017771" cy="1143845"/>
          </a:xfrm>
        </p:grpSpPr>
        <p:sp>
          <p:nvSpPr>
            <p:cNvPr id="2181" name="Freeform: Shape 2180">
              <a:extLst>
                <a:ext uri="{FF2B5EF4-FFF2-40B4-BE49-F238E27FC236}">
                  <a16:creationId xmlns:a16="http://schemas.microsoft.com/office/drawing/2014/main" id="{986AFBD9-9414-CEB5-F435-5B553A5E0C01}"/>
                </a:ext>
              </a:extLst>
            </p:cNvPr>
            <p:cNvSpPr/>
            <p:nvPr/>
          </p:nvSpPr>
          <p:spPr>
            <a:xfrm>
              <a:off x="8010598" y="3000838"/>
              <a:ext cx="487696" cy="571029"/>
            </a:xfrm>
            <a:custGeom>
              <a:avLst/>
              <a:gdLst>
                <a:gd name="connsiteX0" fmla="*/ 2085535 w 2312706"/>
                <a:gd name="connsiteY0" fmla="*/ 0 h 2707881"/>
                <a:gd name="connsiteX1" fmla="*/ 226903 w 2312706"/>
                <a:gd name="connsiteY1" fmla="*/ 0 h 2707881"/>
                <a:gd name="connsiteX2" fmla="*/ 0 w 2312706"/>
                <a:gd name="connsiteY2" fmla="*/ 226903 h 2707881"/>
                <a:gd name="connsiteX3" fmla="*/ 226903 w 2312706"/>
                <a:gd name="connsiteY3" fmla="*/ 453805 h 2707881"/>
                <a:gd name="connsiteX4" fmla="*/ 1858878 w 2312706"/>
                <a:gd name="connsiteY4" fmla="*/ 453805 h 2707881"/>
                <a:gd name="connsiteX5" fmla="*/ 1858878 w 2312706"/>
                <a:gd name="connsiteY5" fmla="*/ 2480996 h 2707881"/>
                <a:gd name="connsiteX6" fmla="*/ 2085764 w 2312706"/>
                <a:gd name="connsiteY6" fmla="*/ 2707882 h 2707881"/>
                <a:gd name="connsiteX7" fmla="*/ 2312706 w 2312706"/>
                <a:gd name="connsiteY7" fmla="*/ 2480996 h 2707881"/>
                <a:gd name="connsiteX8" fmla="*/ 2312706 w 2312706"/>
                <a:gd name="connsiteY8" fmla="*/ 226977 h 2707881"/>
                <a:gd name="connsiteX9" fmla="*/ 2085764 w 2312706"/>
                <a:gd name="connsiteY9" fmla="*/ 74 h 270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2706" h="2707881">
                  <a:moveTo>
                    <a:pt x="2085535" y="0"/>
                  </a:moveTo>
                  <a:lnTo>
                    <a:pt x="226903" y="0"/>
                  </a:lnTo>
                  <a:cubicBezTo>
                    <a:pt x="101796" y="0"/>
                    <a:pt x="0" y="101533"/>
                    <a:pt x="0" y="226903"/>
                  </a:cubicBezTo>
                  <a:cubicBezTo>
                    <a:pt x="0" y="352010"/>
                    <a:pt x="101533" y="453805"/>
                    <a:pt x="226903" y="453805"/>
                  </a:cubicBezTo>
                  <a:lnTo>
                    <a:pt x="1858878" y="453805"/>
                  </a:lnTo>
                  <a:lnTo>
                    <a:pt x="1858878" y="2480996"/>
                  </a:lnTo>
                  <a:cubicBezTo>
                    <a:pt x="1858878" y="2606097"/>
                    <a:pt x="1960434" y="2707882"/>
                    <a:pt x="2085764" y="2707882"/>
                  </a:cubicBezTo>
                  <a:cubicBezTo>
                    <a:pt x="2210865" y="2707882"/>
                    <a:pt x="2312706" y="2606326"/>
                    <a:pt x="2312706" y="2480996"/>
                  </a:cubicBezTo>
                  <a:lnTo>
                    <a:pt x="2312706" y="226977"/>
                  </a:lnTo>
                  <a:cubicBezTo>
                    <a:pt x="2312706" y="101870"/>
                    <a:pt x="2211151" y="74"/>
                    <a:pt x="2085764" y="74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rgbClr val="E8EBF0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2182" name="Freeform: Shape 2181">
              <a:extLst>
                <a:ext uri="{FF2B5EF4-FFF2-40B4-BE49-F238E27FC236}">
                  <a16:creationId xmlns:a16="http://schemas.microsoft.com/office/drawing/2014/main" id="{52B47187-DF82-9BC0-39D4-89116192F0D1}"/>
                </a:ext>
              </a:extLst>
            </p:cNvPr>
            <p:cNvSpPr/>
            <p:nvPr/>
          </p:nvSpPr>
          <p:spPr>
            <a:xfrm>
              <a:off x="7581682" y="2428022"/>
              <a:ext cx="275747" cy="275747"/>
            </a:xfrm>
            <a:custGeom>
              <a:avLst/>
              <a:gdLst>
                <a:gd name="connsiteX0" fmla="*/ 583061 w 1307624"/>
                <a:gd name="connsiteY0" fmla="*/ 1303722 h 1307624"/>
                <a:gd name="connsiteX1" fmla="*/ 1303722 w 1307624"/>
                <a:gd name="connsiteY1" fmla="*/ 724564 h 1307624"/>
                <a:gd name="connsiteX2" fmla="*/ 724564 w 1307624"/>
                <a:gd name="connsiteY2" fmla="*/ 3903 h 1307624"/>
                <a:gd name="connsiteX3" fmla="*/ 3903 w 1307624"/>
                <a:gd name="connsiteY3" fmla="*/ 583061 h 1307624"/>
                <a:gd name="connsiteX4" fmla="*/ 583061 w 1307624"/>
                <a:gd name="connsiteY4" fmla="*/ 1303722 h 130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624" h="1307624">
                  <a:moveTo>
                    <a:pt x="583061" y="1303722"/>
                  </a:moveTo>
                  <a:cubicBezTo>
                    <a:pt x="942031" y="1342836"/>
                    <a:pt x="1264575" y="1083518"/>
                    <a:pt x="1303722" y="724564"/>
                  </a:cubicBezTo>
                  <a:cubicBezTo>
                    <a:pt x="1342836" y="365594"/>
                    <a:pt x="1083518" y="43050"/>
                    <a:pt x="724564" y="3903"/>
                  </a:cubicBezTo>
                  <a:cubicBezTo>
                    <a:pt x="365594" y="-35211"/>
                    <a:pt x="43050" y="224107"/>
                    <a:pt x="3903" y="583061"/>
                  </a:cubicBezTo>
                  <a:cubicBezTo>
                    <a:pt x="-35211" y="942031"/>
                    <a:pt x="224107" y="1264575"/>
                    <a:pt x="583061" y="1303722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rgbClr val="E8EBF0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2184" name="Freeform: Shape 2183">
              <a:extLst>
                <a:ext uri="{FF2B5EF4-FFF2-40B4-BE49-F238E27FC236}">
                  <a16:creationId xmlns:a16="http://schemas.microsoft.com/office/drawing/2014/main" id="{43FF78BF-2373-5DEC-8B5B-05862C9F5328}"/>
                </a:ext>
              </a:extLst>
            </p:cNvPr>
            <p:cNvSpPr/>
            <p:nvPr/>
          </p:nvSpPr>
          <p:spPr>
            <a:xfrm>
              <a:off x="7480523" y="2727886"/>
              <a:ext cx="607765" cy="841137"/>
            </a:xfrm>
            <a:custGeom>
              <a:avLst/>
              <a:gdLst>
                <a:gd name="connsiteX0" fmla="*/ 1835665 w 2882089"/>
                <a:gd name="connsiteY0" fmla="*/ 1542686 h 3988762"/>
                <a:gd name="connsiteX1" fmla="*/ 1240962 w 2882089"/>
                <a:gd name="connsiteY1" fmla="*/ 1542686 h 3988762"/>
                <a:gd name="connsiteX2" fmla="*/ 1395804 w 2882089"/>
                <a:gd name="connsiteY2" fmla="*/ 835226 h 3988762"/>
                <a:gd name="connsiteX3" fmla="*/ 1815319 w 2882089"/>
                <a:gd name="connsiteY3" fmla="*/ 1037485 h 3988762"/>
                <a:gd name="connsiteX4" fmla="*/ 1946587 w 2882089"/>
                <a:gd name="connsiteY4" fmla="*/ 1067489 h 3988762"/>
                <a:gd name="connsiteX5" fmla="*/ 1959983 w 2882089"/>
                <a:gd name="connsiteY5" fmla="*/ 1067221 h 3988762"/>
                <a:gd name="connsiteX6" fmla="*/ 2593262 w 2882089"/>
                <a:gd name="connsiteY6" fmla="*/ 1038823 h 3988762"/>
                <a:gd name="connsiteX7" fmla="*/ 2881778 w 2882089"/>
                <a:gd name="connsiteY7" fmla="*/ 722977 h 3988762"/>
                <a:gd name="connsiteX8" fmla="*/ 2566202 w 2882089"/>
                <a:gd name="connsiteY8" fmla="*/ 434461 h 3988762"/>
                <a:gd name="connsiteX9" fmla="*/ 2009258 w 2882089"/>
                <a:gd name="connsiteY9" fmla="*/ 459379 h 3988762"/>
                <a:gd name="connsiteX10" fmla="*/ 1297169 w 2882089"/>
                <a:gd name="connsiteY10" fmla="*/ 110318 h 3988762"/>
                <a:gd name="connsiteX11" fmla="*/ 849256 w 2882089"/>
                <a:gd name="connsiteY11" fmla="*/ 11197 h 3988762"/>
                <a:gd name="connsiteX12" fmla="*/ 483850 w 2882089"/>
                <a:gd name="connsiteY12" fmla="*/ 77902 h 3988762"/>
                <a:gd name="connsiteX13" fmla="*/ 274092 w 2882089"/>
                <a:gd name="connsiteY13" fmla="*/ 384369 h 3988762"/>
                <a:gd name="connsiteX14" fmla="*/ 9950 w 2882089"/>
                <a:gd name="connsiteY14" fmla="*/ 1652814 h 3988762"/>
                <a:gd name="connsiteX15" fmla="*/ 105854 w 2882089"/>
                <a:gd name="connsiteY15" fmla="*/ 2046343 h 3988762"/>
                <a:gd name="connsiteX16" fmla="*/ 471523 w 2882089"/>
                <a:gd name="connsiteY16" fmla="*/ 2220205 h 3988762"/>
                <a:gd name="connsiteX17" fmla="*/ 1521425 w 2882089"/>
                <a:gd name="connsiteY17" fmla="*/ 2220205 h 3988762"/>
                <a:gd name="connsiteX18" fmla="*/ 1643852 w 2882089"/>
                <a:gd name="connsiteY18" fmla="*/ 2342631 h 3988762"/>
                <a:gd name="connsiteX19" fmla="*/ 1643852 w 2882089"/>
                <a:gd name="connsiteY19" fmla="*/ 3649863 h 3988762"/>
                <a:gd name="connsiteX20" fmla="*/ 1983003 w 2882089"/>
                <a:gd name="connsiteY20" fmla="*/ 3988762 h 3988762"/>
                <a:gd name="connsiteX21" fmla="*/ 2321885 w 2882089"/>
                <a:gd name="connsiteY21" fmla="*/ 3649863 h 3988762"/>
                <a:gd name="connsiteX22" fmla="*/ 2321885 w 2882089"/>
                <a:gd name="connsiteY22" fmla="*/ 2028306 h 3988762"/>
                <a:gd name="connsiteX23" fmla="*/ 1835665 w 2882089"/>
                <a:gd name="connsiteY23" fmla="*/ 1541817 h 398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82089" h="3988762">
                  <a:moveTo>
                    <a:pt x="1835665" y="1542686"/>
                  </a:moveTo>
                  <a:lnTo>
                    <a:pt x="1240962" y="1542686"/>
                  </a:lnTo>
                  <a:lnTo>
                    <a:pt x="1395804" y="835226"/>
                  </a:lnTo>
                  <a:lnTo>
                    <a:pt x="1815319" y="1037485"/>
                  </a:lnTo>
                  <a:cubicBezTo>
                    <a:pt x="1856307" y="1057311"/>
                    <a:pt x="1901313" y="1067489"/>
                    <a:pt x="1946587" y="1067489"/>
                  </a:cubicBezTo>
                  <a:cubicBezTo>
                    <a:pt x="1951142" y="1067489"/>
                    <a:pt x="1955697" y="1067221"/>
                    <a:pt x="1959983" y="1067221"/>
                  </a:cubicBezTo>
                  <a:lnTo>
                    <a:pt x="2593262" y="1038823"/>
                  </a:lnTo>
                  <a:cubicBezTo>
                    <a:pt x="2760157" y="1031325"/>
                    <a:pt x="2889282" y="889878"/>
                    <a:pt x="2881778" y="722977"/>
                  </a:cubicBezTo>
                  <a:cubicBezTo>
                    <a:pt x="2874275" y="556351"/>
                    <a:pt x="2731491" y="427226"/>
                    <a:pt x="2566202" y="434461"/>
                  </a:cubicBezTo>
                  <a:lnTo>
                    <a:pt x="2009258" y="459379"/>
                  </a:lnTo>
                  <a:cubicBezTo>
                    <a:pt x="2009258" y="459379"/>
                    <a:pt x="1375407" y="128800"/>
                    <a:pt x="1297169" y="110318"/>
                  </a:cubicBezTo>
                  <a:cubicBezTo>
                    <a:pt x="1209032" y="89687"/>
                    <a:pt x="849256" y="11197"/>
                    <a:pt x="849256" y="11197"/>
                  </a:cubicBezTo>
                  <a:cubicBezTo>
                    <a:pt x="722543" y="-16395"/>
                    <a:pt x="592618" y="7442"/>
                    <a:pt x="483850" y="77902"/>
                  </a:cubicBezTo>
                  <a:cubicBezTo>
                    <a:pt x="375088" y="148626"/>
                    <a:pt x="300615" y="257388"/>
                    <a:pt x="274092" y="384369"/>
                  </a:cubicBezTo>
                  <a:lnTo>
                    <a:pt x="9950" y="1652814"/>
                  </a:lnTo>
                  <a:cubicBezTo>
                    <a:pt x="-18984" y="1792385"/>
                    <a:pt x="15843" y="1935706"/>
                    <a:pt x="105854" y="2046343"/>
                  </a:cubicBezTo>
                  <a:cubicBezTo>
                    <a:pt x="195865" y="2156979"/>
                    <a:pt x="329008" y="2220205"/>
                    <a:pt x="471523" y="2220205"/>
                  </a:cubicBezTo>
                  <a:lnTo>
                    <a:pt x="1521425" y="2220205"/>
                  </a:lnTo>
                  <a:cubicBezTo>
                    <a:pt x="1588931" y="2220205"/>
                    <a:pt x="1643852" y="2275120"/>
                    <a:pt x="1643852" y="2342631"/>
                  </a:cubicBezTo>
                  <a:lnTo>
                    <a:pt x="1643852" y="3649863"/>
                  </a:lnTo>
                  <a:cubicBezTo>
                    <a:pt x="1643852" y="3837144"/>
                    <a:pt x="1795476" y="3988762"/>
                    <a:pt x="1983003" y="3988762"/>
                  </a:cubicBezTo>
                  <a:cubicBezTo>
                    <a:pt x="2170261" y="3988762"/>
                    <a:pt x="2321885" y="3836858"/>
                    <a:pt x="2321885" y="3649863"/>
                  </a:cubicBezTo>
                  <a:lnTo>
                    <a:pt x="2321885" y="2028306"/>
                  </a:lnTo>
                  <a:cubicBezTo>
                    <a:pt x="2321885" y="1759610"/>
                    <a:pt x="2104092" y="1541817"/>
                    <a:pt x="1835665" y="1541817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rgbClr val="E8EBF0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BAC7325-B167-51FE-8C42-04CEF6497A42}"/>
              </a:ext>
            </a:extLst>
          </p:cNvPr>
          <p:cNvGrpSpPr/>
          <p:nvPr/>
        </p:nvGrpSpPr>
        <p:grpSpPr>
          <a:xfrm>
            <a:off x="7216388" y="2917339"/>
            <a:ext cx="1237998" cy="904383"/>
            <a:chOff x="7254889" y="2667424"/>
            <a:chExt cx="1237998" cy="904383"/>
          </a:xfr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83" name="Freeform: Shape 2182">
              <a:extLst>
                <a:ext uri="{FF2B5EF4-FFF2-40B4-BE49-F238E27FC236}">
                  <a16:creationId xmlns:a16="http://schemas.microsoft.com/office/drawing/2014/main" id="{4F75DD71-DE42-FF76-BD95-EC0DC80D6FF6}"/>
                </a:ext>
              </a:extLst>
            </p:cNvPr>
            <p:cNvSpPr/>
            <p:nvPr/>
          </p:nvSpPr>
          <p:spPr>
            <a:xfrm>
              <a:off x="7254889" y="2751204"/>
              <a:ext cx="518156" cy="820603"/>
            </a:xfrm>
            <a:custGeom>
              <a:avLst/>
              <a:gdLst>
                <a:gd name="connsiteX0" fmla="*/ 2163266 w 2457154"/>
                <a:gd name="connsiteY0" fmla="*/ 2385543 h 3891388"/>
                <a:gd name="connsiteX1" fmla="*/ 1221377 w 2457154"/>
                <a:gd name="connsiteY1" fmla="*/ 2385543 h 3891388"/>
                <a:gd name="connsiteX2" fmla="*/ 772395 w 2457154"/>
                <a:gd name="connsiteY2" fmla="*/ 2008890 h 3891388"/>
                <a:gd name="connsiteX3" fmla="*/ 450121 w 2457154"/>
                <a:gd name="connsiteY3" fmla="*/ 187463 h 3891388"/>
                <a:gd name="connsiteX4" fmla="*/ 187322 w 2457154"/>
                <a:gd name="connsiteY4" fmla="*/ 3691 h 3891388"/>
                <a:gd name="connsiteX5" fmla="*/ 3551 w 2457154"/>
                <a:gd name="connsiteY5" fmla="*/ 266490 h 3891388"/>
                <a:gd name="connsiteX6" fmla="*/ 325825 w 2457154"/>
                <a:gd name="connsiteY6" fmla="*/ 2087917 h 3891388"/>
                <a:gd name="connsiteX7" fmla="*/ 1221423 w 2457154"/>
                <a:gd name="connsiteY7" fmla="*/ 2839097 h 3891388"/>
                <a:gd name="connsiteX8" fmla="*/ 2003349 w 2457154"/>
                <a:gd name="connsiteY8" fmla="*/ 2839097 h 3891388"/>
                <a:gd name="connsiteX9" fmla="*/ 2003349 w 2457154"/>
                <a:gd name="connsiteY9" fmla="*/ 3664446 h 3891388"/>
                <a:gd name="connsiteX10" fmla="*/ 2230252 w 2457154"/>
                <a:gd name="connsiteY10" fmla="*/ 3891389 h 3891388"/>
                <a:gd name="connsiteX11" fmla="*/ 2457155 w 2457154"/>
                <a:gd name="connsiteY11" fmla="*/ 3664446 h 3891388"/>
                <a:gd name="connsiteX12" fmla="*/ 2457155 w 2457154"/>
                <a:gd name="connsiteY12" fmla="*/ 2679191 h 3891388"/>
                <a:gd name="connsiteX13" fmla="*/ 2163547 w 2457154"/>
                <a:gd name="connsiteY13" fmla="*/ 2385583 h 3891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57154" h="3891388">
                  <a:moveTo>
                    <a:pt x="2163266" y="2385543"/>
                  </a:moveTo>
                  <a:lnTo>
                    <a:pt x="1221377" y="2385543"/>
                  </a:lnTo>
                  <a:cubicBezTo>
                    <a:pt x="999830" y="2385543"/>
                    <a:pt x="810972" y="2227221"/>
                    <a:pt x="772395" y="2008890"/>
                  </a:cubicBezTo>
                  <a:lnTo>
                    <a:pt x="450121" y="187463"/>
                  </a:lnTo>
                  <a:cubicBezTo>
                    <a:pt x="428421" y="63967"/>
                    <a:pt x="310549" y="-18815"/>
                    <a:pt x="187322" y="3691"/>
                  </a:cubicBezTo>
                  <a:cubicBezTo>
                    <a:pt x="63827" y="25391"/>
                    <a:pt x="-18418" y="142994"/>
                    <a:pt x="3551" y="266490"/>
                  </a:cubicBezTo>
                  <a:lnTo>
                    <a:pt x="325825" y="2087917"/>
                  </a:lnTo>
                  <a:cubicBezTo>
                    <a:pt x="402978" y="2522972"/>
                    <a:pt x="779631" y="2839097"/>
                    <a:pt x="1221423" y="2839097"/>
                  </a:cubicBezTo>
                  <a:lnTo>
                    <a:pt x="2003349" y="2839097"/>
                  </a:lnTo>
                  <a:lnTo>
                    <a:pt x="2003349" y="3664446"/>
                  </a:lnTo>
                  <a:cubicBezTo>
                    <a:pt x="2003349" y="3789547"/>
                    <a:pt x="2104882" y="3891389"/>
                    <a:pt x="2230252" y="3891389"/>
                  </a:cubicBezTo>
                  <a:cubicBezTo>
                    <a:pt x="2355622" y="3891389"/>
                    <a:pt x="2457155" y="3789833"/>
                    <a:pt x="2457155" y="3664446"/>
                  </a:cubicBezTo>
                  <a:lnTo>
                    <a:pt x="2457155" y="2679191"/>
                  </a:lnTo>
                  <a:cubicBezTo>
                    <a:pt x="2457155" y="2517120"/>
                    <a:pt x="2325355" y="2385583"/>
                    <a:pt x="2163547" y="238558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2185" name="Freeform: Shape 2184">
              <a:extLst>
                <a:ext uri="{FF2B5EF4-FFF2-40B4-BE49-F238E27FC236}">
                  <a16:creationId xmlns:a16="http://schemas.microsoft.com/office/drawing/2014/main" id="{CC52DD07-7DBC-320A-EFAB-14BDD0F6E454}"/>
                </a:ext>
              </a:extLst>
            </p:cNvPr>
            <p:cNvSpPr/>
            <p:nvPr/>
          </p:nvSpPr>
          <p:spPr>
            <a:xfrm>
              <a:off x="8145344" y="2667424"/>
              <a:ext cx="347543" cy="278334"/>
            </a:xfrm>
            <a:custGeom>
              <a:avLst/>
              <a:gdLst>
                <a:gd name="connsiteX0" fmla="*/ 1349403 w 1648088"/>
                <a:gd name="connsiteY0" fmla="*/ 116789 h 1319888"/>
                <a:gd name="connsiteX1" fmla="*/ 1138291 w 1648088"/>
                <a:gd name="connsiteY1" fmla="*/ 1017702 h 1319888"/>
                <a:gd name="connsiteX2" fmla="*/ 151093 w 1648088"/>
                <a:gd name="connsiteY2" fmla="*/ 1017702 h 1319888"/>
                <a:gd name="connsiteX3" fmla="*/ 0 w 1648088"/>
                <a:gd name="connsiteY3" fmla="*/ 1168795 h 1319888"/>
                <a:gd name="connsiteX4" fmla="*/ 151093 w 1648088"/>
                <a:gd name="connsiteY4" fmla="*/ 1319888 h 1319888"/>
                <a:gd name="connsiteX5" fmla="*/ 1258306 w 1648088"/>
                <a:gd name="connsiteY5" fmla="*/ 1319888 h 1319888"/>
                <a:gd name="connsiteX6" fmla="*/ 1405639 w 1648088"/>
                <a:gd name="connsiteY6" fmla="*/ 1203354 h 1319888"/>
                <a:gd name="connsiteX7" fmla="*/ 1644069 w 1648088"/>
                <a:gd name="connsiteY7" fmla="*/ 185912 h 1319888"/>
                <a:gd name="connsiteX8" fmla="*/ 1531312 w 1648088"/>
                <a:gd name="connsiteY8" fmla="*/ 4015 h 1319888"/>
                <a:gd name="connsiteX9" fmla="*/ 1349689 w 1648088"/>
                <a:gd name="connsiteY9" fmla="*/ 116795 h 131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8088" h="1319888">
                  <a:moveTo>
                    <a:pt x="1349403" y="116789"/>
                  </a:moveTo>
                  <a:lnTo>
                    <a:pt x="1138291" y="1017702"/>
                  </a:lnTo>
                  <a:lnTo>
                    <a:pt x="151093" y="1017702"/>
                  </a:lnTo>
                  <a:cubicBezTo>
                    <a:pt x="67511" y="1017702"/>
                    <a:pt x="0" y="1085207"/>
                    <a:pt x="0" y="1168795"/>
                  </a:cubicBezTo>
                  <a:cubicBezTo>
                    <a:pt x="0" y="1252383"/>
                    <a:pt x="67506" y="1319888"/>
                    <a:pt x="151093" y="1319888"/>
                  </a:cubicBezTo>
                  <a:lnTo>
                    <a:pt x="1258306" y="1319888"/>
                  </a:lnTo>
                  <a:cubicBezTo>
                    <a:pt x="1328486" y="1319888"/>
                    <a:pt x="1389579" y="1271671"/>
                    <a:pt x="1405639" y="1203354"/>
                  </a:cubicBezTo>
                  <a:lnTo>
                    <a:pt x="1644069" y="185912"/>
                  </a:lnTo>
                  <a:cubicBezTo>
                    <a:pt x="1663099" y="104473"/>
                    <a:pt x="1612750" y="23303"/>
                    <a:pt x="1531312" y="4015"/>
                  </a:cubicBezTo>
                  <a:cubicBezTo>
                    <a:pt x="1449073" y="-15004"/>
                    <a:pt x="1368662" y="35356"/>
                    <a:pt x="1349689" y="11679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pic>
        <p:nvPicPr>
          <p:cNvPr id="2192" name="Graphic 2191">
            <a:extLst>
              <a:ext uri="{FF2B5EF4-FFF2-40B4-BE49-F238E27FC236}">
                <a16:creationId xmlns:a16="http://schemas.microsoft.com/office/drawing/2014/main" id="{BF61E81F-8360-4298-EF05-2BC29A4DE175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46510" y="4390909"/>
            <a:ext cx="1453322" cy="14533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95" name="TextBox 2194">
            <a:extLst>
              <a:ext uri="{FF2B5EF4-FFF2-40B4-BE49-F238E27FC236}">
                <a16:creationId xmlns:a16="http://schemas.microsoft.com/office/drawing/2014/main" id="{279F2AA9-FF60-14C6-4834-C3A9C992E9A1}"/>
              </a:ext>
            </a:extLst>
          </p:cNvPr>
          <p:cNvSpPr txBox="1"/>
          <p:nvPr/>
        </p:nvSpPr>
        <p:spPr>
          <a:xfrm>
            <a:off x="-14716" y="4377346"/>
            <a:ext cx="121236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ervaar klachten (en bespreek ze met mijn leidinggevende)</a:t>
            </a:r>
            <a:endParaRPr lang="en-US" sz="1050"/>
          </a:p>
        </p:txBody>
      </p:sp>
      <p:sp>
        <p:nvSpPr>
          <p:cNvPr id="2196" name="Freeform 754">
            <a:extLst>
              <a:ext uri="{FF2B5EF4-FFF2-40B4-BE49-F238E27FC236}">
                <a16:creationId xmlns:a16="http://schemas.microsoft.com/office/drawing/2014/main" id="{27F0E666-075F-A010-B609-414371D911F0}"/>
              </a:ext>
            </a:extLst>
          </p:cNvPr>
          <p:cNvSpPr/>
          <p:nvPr/>
        </p:nvSpPr>
        <p:spPr>
          <a:xfrm rot="18190455" flipH="1" flipV="1">
            <a:off x="35684" y="3531039"/>
            <a:ext cx="889952" cy="58179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97" name="TextBox 2196">
            <a:extLst>
              <a:ext uri="{FF2B5EF4-FFF2-40B4-BE49-F238E27FC236}">
                <a16:creationId xmlns:a16="http://schemas.microsoft.com/office/drawing/2014/main" id="{54CF1D51-E41A-5D26-7C20-9D8D4D1591CF}"/>
              </a:ext>
            </a:extLst>
          </p:cNvPr>
          <p:cNvSpPr txBox="1"/>
          <p:nvPr/>
        </p:nvSpPr>
        <p:spPr>
          <a:xfrm>
            <a:off x="994338" y="1710704"/>
            <a:ext cx="1053428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ga preventief naar de bedrijfsarts</a:t>
            </a:r>
          </a:p>
        </p:txBody>
      </p:sp>
      <p:sp>
        <p:nvSpPr>
          <p:cNvPr id="2198" name="Freeform 754">
            <a:extLst>
              <a:ext uri="{FF2B5EF4-FFF2-40B4-BE49-F238E27FC236}">
                <a16:creationId xmlns:a16="http://schemas.microsoft.com/office/drawing/2014/main" id="{497ADEDF-05F6-8DB7-BB56-F1F9A640C756}"/>
              </a:ext>
            </a:extLst>
          </p:cNvPr>
          <p:cNvSpPr/>
          <p:nvPr/>
        </p:nvSpPr>
        <p:spPr>
          <a:xfrm rot="21252582" flipH="1">
            <a:off x="1507486" y="2290137"/>
            <a:ext cx="456734" cy="3087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99" name="TextBox 2198">
            <a:extLst>
              <a:ext uri="{FF2B5EF4-FFF2-40B4-BE49-F238E27FC236}">
                <a16:creationId xmlns:a16="http://schemas.microsoft.com/office/drawing/2014/main" id="{91D7BBBB-BFDF-5EA3-A028-2DBDEB5234CA}"/>
              </a:ext>
            </a:extLst>
          </p:cNvPr>
          <p:cNvSpPr txBox="1"/>
          <p:nvPr/>
        </p:nvSpPr>
        <p:spPr>
          <a:xfrm>
            <a:off x="707964" y="3740329"/>
            <a:ext cx="105812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derneem actie om me beter te voelen</a:t>
            </a:r>
          </a:p>
          <a:p>
            <a:pPr algn="ctr"/>
            <a:endParaRPr lang="en-US" sz="1050"/>
          </a:p>
        </p:txBody>
      </p:sp>
      <p:sp>
        <p:nvSpPr>
          <p:cNvPr id="2200" name="Freeform 754">
            <a:extLst>
              <a:ext uri="{FF2B5EF4-FFF2-40B4-BE49-F238E27FC236}">
                <a16:creationId xmlns:a16="http://schemas.microsoft.com/office/drawing/2014/main" id="{E01154A4-EEBA-2DD4-5120-61B1D8054004}"/>
              </a:ext>
            </a:extLst>
          </p:cNvPr>
          <p:cNvSpPr/>
          <p:nvPr/>
        </p:nvSpPr>
        <p:spPr>
          <a:xfrm rot="17474487" flipH="1" flipV="1">
            <a:off x="1060371" y="3493761"/>
            <a:ext cx="498733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01" name="TextBox 2200">
            <a:extLst>
              <a:ext uri="{FF2B5EF4-FFF2-40B4-BE49-F238E27FC236}">
                <a16:creationId xmlns:a16="http://schemas.microsoft.com/office/drawing/2014/main" id="{0E05484D-DD30-7D8D-0133-588437F218DE}"/>
              </a:ext>
            </a:extLst>
          </p:cNvPr>
          <p:cNvSpPr txBox="1"/>
          <p:nvPr/>
        </p:nvSpPr>
        <p:spPr>
          <a:xfrm>
            <a:off x="1266034" y="1014900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maak gebruik van preventieve ondersteuning</a:t>
            </a:r>
          </a:p>
        </p:txBody>
      </p:sp>
      <p:sp>
        <p:nvSpPr>
          <p:cNvPr id="2202" name="Freeform 754">
            <a:extLst>
              <a:ext uri="{FF2B5EF4-FFF2-40B4-BE49-F238E27FC236}">
                <a16:creationId xmlns:a16="http://schemas.microsoft.com/office/drawing/2014/main" id="{501DDED7-7389-1BD4-02B4-16890AB7357E}"/>
              </a:ext>
            </a:extLst>
          </p:cNvPr>
          <p:cNvSpPr/>
          <p:nvPr/>
        </p:nvSpPr>
        <p:spPr>
          <a:xfrm rot="20331072" flipH="1">
            <a:off x="2093313" y="1559692"/>
            <a:ext cx="227123" cy="415350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03" name="TextBox 2202">
            <a:extLst>
              <a:ext uri="{FF2B5EF4-FFF2-40B4-BE49-F238E27FC236}">
                <a16:creationId xmlns:a16="http://schemas.microsoft.com/office/drawing/2014/main" id="{0B5446E0-ABB1-99D1-F1BA-029D12252514}"/>
              </a:ext>
            </a:extLst>
          </p:cNvPr>
          <p:cNvSpPr txBox="1"/>
          <p:nvPr/>
        </p:nvSpPr>
        <p:spPr>
          <a:xfrm>
            <a:off x="3359157" y="1614651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meld me ziek bij mijn leidinggevende</a:t>
            </a:r>
          </a:p>
        </p:txBody>
      </p:sp>
      <p:sp>
        <p:nvSpPr>
          <p:cNvPr id="2204" name="TextBox 2203">
            <a:extLst>
              <a:ext uri="{FF2B5EF4-FFF2-40B4-BE49-F238E27FC236}">
                <a16:creationId xmlns:a16="http://schemas.microsoft.com/office/drawing/2014/main" id="{86AFA2BA-0146-815E-AF9C-41D1CC5E69E7}"/>
              </a:ext>
            </a:extLst>
          </p:cNvPr>
          <p:cNvSpPr txBox="1"/>
          <p:nvPr/>
        </p:nvSpPr>
        <p:spPr>
          <a:xfrm>
            <a:off x="3632852" y="2155728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word gecontacteerd door de arbodienst</a:t>
            </a:r>
            <a:br>
              <a:rPr lang="nl-NL" sz="1050" dirty="0"/>
            </a:br>
            <a:r>
              <a:rPr lang="nl-NL" sz="1050" i="1" dirty="0"/>
              <a:t>(intake)</a:t>
            </a:r>
            <a:endParaRPr lang="nl-NL" sz="1050" dirty="0"/>
          </a:p>
        </p:txBody>
      </p:sp>
      <p:sp>
        <p:nvSpPr>
          <p:cNvPr id="2205" name="TextBox 2204">
            <a:extLst>
              <a:ext uri="{FF2B5EF4-FFF2-40B4-BE49-F238E27FC236}">
                <a16:creationId xmlns:a16="http://schemas.microsoft.com/office/drawing/2014/main" id="{3DF5CC69-DA9E-B10D-3567-4D3CB6D95D9F}"/>
              </a:ext>
            </a:extLst>
          </p:cNvPr>
          <p:cNvSpPr txBox="1"/>
          <p:nvPr/>
        </p:nvSpPr>
        <p:spPr>
          <a:xfrm>
            <a:off x="3609696" y="2867616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leidinggevende</a:t>
            </a:r>
          </a:p>
        </p:txBody>
      </p:sp>
      <p:sp>
        <p:nvSpPr>
          <p:cNvPr id="2206" name="TextBox 2205">
            <a:extLst>
              <a:ext uri="{FF2B5EF4-FFF2-40B4-BE49-F238E27FC236}">
                <a16:creationId xmlns:a16="http://schemas.microsoft.com/office/drawing/2014/main" id="{EB8EF397-2BC8-7CB6-AAEA-7EC620C667B3}"/>
              </a:ext>
            </a:extLst>
          </p:cNvPr>
          <p:cNvSpPr txBox="1"/>
          <p:nvPr/>
        </p:nvSpPr>
        <p:spPr>
          <a:xfrm>
            <a:off x="2008118" y="3065314"/>
            <a:ext cx="1173475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teamleden</a:t>
            </a:r>
          </a:p>
        </p:txBody>
      </p:sp>
      <p:sp>
        <p:nvSpPr>
          <p:cNvPr id="2207" name="TextBox 2206">
            <a:extLst>
              <a:ext uri="{FF2B5EF4-FFF2-40B4-BE49-F238E27FC236}">
                <a16:creationId xmlns:a16="http://schemas.microsoft.com/office/drawing/2014/main" id="{81EEAFD8-C1B8-E514-BD45-DBF6FC1CFC4E}"/>
              </a:ext>
            </a:extLst>
          </p:cNvPr>
          <p:cNvSpPr txBox="1"/>
          <p:nvPr/>
        </p:nvSpPr>
        <p:spPr>
          <a:xfrm>
            <a:off x="2026035" y="3863068"/>
            <a:ext cx="117347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n bezig met mijn herstel</a:t>
            </a:r>
          </a:p>
        </p:txBody>
      </p:sp>
      <p:sp>
        <p:nvSpPr>
          <p:cNvPr id="2208" name="TextBox 2207">
            <a:extLst>
              <a:ext uri="{FF2B5EF4-FFF2-40B4-BE49-F238E27FC236}">
                <a16:creationId xmlns:a16="http://schemas.microsoft.com/office/drawing/2014/main" id="{EE00531A-D074-B135-D536-69F79F7D5CDB}"/>
              </a:ext>
            </a:extLst>
          </p:cNvPr>
          <p:cNvSpPr txBox="1"/>
          <p:nvPr/>
        </p:nvSpPr>
        <p:spPr>
          <a:xfrm>
            <a:off x="2421810" y="4429148"/>
            <a:ext cx="6935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meld me beter</a:t>
            </a:r>
          </a:p>
        </p:txBody>
      </p:sp>
      <p:sp>
        <p:nvSpPr>
          <p:cNvPr id="2210" name="TextBox 2209">
            <a:extLst>
              <a:ext uri="{FF2B5EF4-FFF2-40B4-BE49-F238E27FC236}">
                <a16:creationId xmlns:a16="http://schemas.microsoft.com/office/drawing/2014/main" id="{CD80776C-91EF-A249-BBAC-0BD70450734A}"/>
              </a:ext>
            </a:extLst>
          </p:cNvPr>
          <p:cNvSpPr txBox="1"/>
          <p:nvPr/>
        </p:nvSpPr>
        <p:spPr>
          <a:xfrm>
            <a:off x="1822875" y="5777172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een gesprek omdat ik een aantal keer ziek ben geweest</a:t>
            </a:r>
          </a:p>
        </p:txBody>
      </p:sp>
      <p:sp>
        <p:nvSpPr>
          <p:cNvPr id="2213" name="TextBox 2212">
            <a:extLst>
              <a:ext uri="{FF2B5EF4-FFF2-40B4-BE49-F238E27FC236}">
                <a16:creationId xmlns:a16="http://schemas.microsoft.com/office/drawing/2014/main" id="{BF3AB79B-99A2-A17B-62AC-557D05F6AB3C}"/>
              </a:ext>
            </a:extLst>
          </p:cNvPr>
          <p:cNvSpPr txBox="1"/>
          <p:nvPr/>
        </p:nvSpPr>
        <p:spPr>
          <a:xfrm>
            <a:off x="3907997" y="6155950"/>
            <a:ext cx="132057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ga periodiek naar de bedrijfsarts</a:t>
            </a:r>
          </a:p>
        </p:txBody>
      </p:sp>
      <p:sp>
        <p:nvSpPr>
          <p:cNvPr id="2214" name="TextBox 2213">
            <a:extLst>
              <a:ext uri="{FF2B5EF4-FFF2-40B4-BE49-F238E27FC236}">
                <a16:creationId xmlns:a16="http://schemas.microsoft.com/office/drawing/2014/main" id="{39A7D3A1-AB88-5BC9-1B28-22F58A676D06}"/>
              </a:ext>
            </a:extLst>
          </p:cNvPr>
          <p:cNvSpPr txBox="1"/>
          <p:nvPr/>
        </p:nvSpPr>
        <p:spPr>
          <a:xfrm>
            <a:off x="4439850" y="4737012"/>
            <a:ext cx="1028817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Mijn leidinggevende en ik stellen een Plan van Aanpak op</a:t>
            </a:r>
          </a:p>
        </p:txBody>
      </p:sp>
      <p:sp>
        <p:nvSpPr>
          <p:cNvPr id="2216" name="TextBox 2215">
            <a:extLst>
              <a:ext uri="{FF2B5EF4-FFF2-40B4-BE49-F238E27FC236}">
                <a16:creationId xmlns:a16="http://schemas.microsoft.com/office/drawing/2014/main" id="{B87790EA-2A8C-BEE2-F37F-89050E7BA3F1}"/>
              </a:ext>
            </a:extLst>
          </p:cNvPr>
          <p:cNvSpPr txBox="1"/>
          <p:nvPr/>
        </p:nvSpPr>
        <p:spPr>
          <a:xfrm>
            <a:off x="5598314" y="4887178"/>
            <a:ext cx="1028817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leidinggevende</a:t>
            </a:r>
          </a:p>
        </p:txBody>
      </p:sp>
      <p:sp>
        <p:nvSpPr>
          <p:cNvPr id="2218" name="TextBox 2217">
            <a:extLst>
              <a:ext uri="{FF2B5EF4-FFF2-40B4-BE49-F238E27FC236}">
                <a16:creationId xmlns:a16="http://schemas.microsoft.com/office/drawing/2014/main" id="{75D77551-B1C6-3E11-A813-E8ADFE2CBBE0}"/>
              </a:ext>
            </a:extLst>
          </p:cNvPr>
          <p:cNvSpPr txBox="1"/>
          <p:nvPr/>
        </p:nvSpPr>
        <p:spPr>
          <a:xfrm>
            <a:off x="7335654" y="5603320"/>
            <a:ext cx="1397069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en attentie/ beterschapswens</a:t>
            </a:r>
          </a:p>
        </p:txBody>
      </p:sp>
      <p:sp>
        <p:nvSpPr>
          <p:cNvPr id="2219" name="TextBox 2218">
            <a:extLst>
              <a:ext uri="{FF2B5EF4-FFF2-40B4-BE49-F238E27FC236}">
                <a16:creationId xmlns:a16="http://schemas.microsoft.com/office/drawing/2014/main" id="{5A4C6E85-A903-AE5C-7E70-244C10155D2C}"/>
              </a:ext>
            </a:extLst>
          </p:cNvPr>
          <p:cNvSpPr txBox="1"/>
          <p:nvPr/>
        </p:nvSpPr>
        <p:spPr>
          <a:xfrm>
            <a:off x="5933538" y="4455037"/>
            <a:ext cx="13496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regel de nodige administratie</a:t>
            </a:r>
          </a:p>
        </p:txBody>
      </p:sp>
      <p:sp>
        <p:nvSpPr>
          <p:cNvPr id="2220" name="TextBox 2219">
            <a:extLst>
              <a:ext uri="{FF2B5EF4-FFF2-40B4-BE49-F238E27FC236}">
                <a16:creationId xmlns:a16="http://schemas.microsoft.com/office/drawing/2014/main" id="{7008EAFF-81FC-1AD4-C42A-9D8A76F279D3}"/>
              </a:ext>
            </a:extLst>
          </p:cNvPr>
          <p:cNvSpPr txBox="1"/>
          <p:nvPr/>
        </p:nvSpPr>
        <p:spPr>
          <a:xfrm>
            <a:off x="6398409" y="4038573"/>
            <a:ext cx="13496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krijg begeleiding om te herstellen</a:t>
            </a:r>
          </a:p>
        </p:txBody>
      </p:sp>
      <p:sp>
        <p:nvSpPr>
          <p:cNvPr id="2221" name="TextBox 2220">
            <a:extLst>
              <a:ext uri="{FF2B5EF4-FFF2-40B4-BE49-F238E27FC236}">
                <a16:creationId xmlns:a16="http://schemas.microsoft.com/office/drawing/2014/main" id="{E496C77F-37F2-C8A9-23DD-4492C76A14B5}"/>
              </a:ext>
            </a:extLst>
          </p:cNvPr>
          <p:cNvSpPr txBox="1"/>
          <p:nvPr/>
        </p:nvSpPr>
        <p:spPr>
          <a:xfrm>
            <a:off x="8784811" y="5760306"/>
            <a:ext cx="99700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 Ik krijg begeleiding in het oriënteren op ander werk</a:t>
            </a:r>
          </a:p>
        </p:txBody>
      </p:sp>
      <p:sp>
        <p:nvSpPr>
          <p:cNvPr id="2225" name="TextBox 2224">
            <a:extLst>
              <a:ext uri="{FF2B5EF4-FFF2-40B4-BE49-F238E27FC236}">
                <a16:creationId xmlns:a16="http://schemas.microsoft.com/office/drawing/2014/main" id="{3176F56B-3CDC-78E2-5682-A85C82E0B0D9}"/>
              </a:ext>
            </a:extLst>
          </p:cNvPr>
          <p:cNvSpPr txBox="1"/>
          <p:nvPr/>
        </p:nvSpPr>
        <p:spPr>
          <a:xfrm>
            <a:off x="5414793" y="1947979"/>
            <a:ext cx="328108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spreek de re-integratiemogelijkheden met de bedrijfsarts en mijn leidinggevende</a:t>
            </a:r>
          </a:p>
        </p:txBody>
      </p:sp>
      <p:sp>
        <p:nvSpPr>
          <p:cNvPr id="2226" name="TextBox 2225">
            <a:extLst>
              <a:ext uri="{FF2B5EF4-FFF2-40B4-BE49-F238E27FC236}">
                <a16:creationId xmlns:a16="http://schemas.microsoft.com/office/drawing/2014/main" id="{B539CA5F-0B1A-7CB4-6D18-79C11DB07BC3}"/>
              </a:ext>
            </a:extLst>
          </p:cNvPr>
          <p:cNvSpPr txBox="1"/>
          <p:nvPr/>
        </p:nvSpPr>
        <p:spPr>
          <a:xfrm>
            <a:off x="5837690" y="1640148"/>
            <a:ext cx="2880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reid me voor om weer aan het werk te gaan</a:t>
            </a:r>
          </a:p>
        </p:txBody>
      </p:sp>
      <p:sp>
        <p:nvSpPr>
          <p:cNvPr id="2227" name="TextBox 2226">
            <a:extLst>
              <a:ext uri="{FF2B5EF4-FFF2-40B4-BE49-F238E27FC236}">
                <a16:creationId xmlns:a16="http://schemas.microsoft.com/office/drawing/2014/main" id="{753E8762-984D-C0B7-88D5-86DA5E9D538C}"/>
              </a:ext>
            </a:extLst>
          </p:cNvPr>
          <p:cNvSpPr txBox="1"/>
          <p:nvPr/>
        </p:nvSpPr>
        <p:spPr>
          <a:xfrm>
            <a:off x="6046694" y="1420964"/>
            <a:ext cx="2880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start weer gedeeltelijk op</a:t>
            </a:r>
          </a:p>
        </p:txBody>
      </p:sp>
      <p:sp>
        <p:nvSpPr>
          <p:cNvPr id="2228" name="TextBox 2227">
            <a:extLst>
              <a:ext uri="{FF2B5EF4-FFF2-40B4-BE49-F238E27FC236}">
                <a16:creationId xmlns:a16="http://schemas.microsoft.com/office/drawing/2014/main" id="{C1009866-9F29-5468-5935-93CDE9393FA6}"/>
              </a:ext>
            </a:extLst>
          </p:cNvPr>
          <p:cNvSpPr txBox="1"/>
          <p:nvPr/>
        </p:nvSpPr>
        <p:spPr>
          <a:xfrm>
            <a:off x="6305176" y="873719"/>
            <a:ext cx="2409628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word tijdens mijn re-integratie begeleid door mijn leidinggevende, casemanager en bedrijfsarts</a:t>
            </a:r>
          </a:p>
        </p:txBody>
      </p:sp>
      <p:sp>
        <p:nvSpPr>
          <p:cNvPr id="2229" name="TextBox 2228">
            <a:extLst>
              <a:ext uri="{FF2B5EF4-FFF2-40B4-BE49-F238E27FC236}">
                <a16:creationId xmlns:a16="http://schemas.microsoft.com/office/drawing/2014/main" id="{A51245B4-62E9-77F8-7ED3-14A1E8C0B173}"/>
              </a:ext>
            </a:extLst>
          </p:cNvPr>
          <p:cNvSpPr txBox="1"/>
          <p:nvPr/>
        </p:nvSpPr>
        <p:spPr>
          <a:xfrm>
            <a:off x="6758658" y="492163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 Ik ga weer volledig aan het werk</a:t>
            </a:r>
          </a:p>
        </p:txBody>
      </p:sp>
      <p:sp>
        <p:nvSpPr>
          <p:cNvPr id="2230" name="TextBox 2229">
            <a:extLst>
              <a:ext uri="{FF2B5EF4-FFF2-40B4-BE49-F238E27FC236}">
                <a16:creationId xmlns:a16="http://schemas.microsoft.com/office/drawing/2014/main" id="{44A24FBA-F7A7-3CEF-D9AC-E007D1850C3C}"/>
              </a:ext>
            </a:extLst>
          </p:cNvPr>
          <p:cNvSpPr txBox="1"/>
          <p:nvPr/>
        </p:nvSpPr>
        <p:spPr>
          <a:xfrm>
            <a:off x="10283847" y="2467324"/>
            <a:ext cx="104397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vraag de WIA aan</a:t>
            </a:r>
          </a:p>
        </p:txBody>
      </p:sp>
      <p:sp>
        <p:nvSpPr>
          <p:cNvPr id="2231" name="TextBox 2230">
            <a:extLst>
              <a:ext uri="{FF2B5EF4-FFF2-40B4-BE49-F238E27FC236}">
                <a16:creationId xmlns:a16="http://schemas.microsoft.com/office/drawing/2014/main" id="{712D1282-C473-63EC-9767-CD2C7F76A4FE}"/>
              </a:ext>
            </a:extLst>
          </p:cNvPr>
          <p:cNvSpPr txBox="1"/>
          <p:nvPr/>
        </p:nvSpPr>
        <p:spPr>
          <a:xfrm>
            <a:off x="9093720" y="942122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ga ziek uit diens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232" name="TextBox 2231">
            <a:extLst>
              <a:ext uri="{FF2B5EF4-FFF2-40B4-BE49-F238E27FC236}">
                <a16:creationId xmlns:a16="http://schemas.microsoft.com/office/drawing/2014/main" id="{503F47A5-A6F0-6282-10AA-9E9507B6041D}"/>
              </a:ext>
            </a:extLst>
          </p:cNvPr>
          <p:cNvSpPr txBox="1"/>
          <p:nvPr/>
        </p:nvSpPr>
        <p:spPr>
          <a:xfrm>
            <a:off x="10191592" y="1164192"/>
            <a:ext cx="1280406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n teken een vaststelling-overeenkomst</a:t>
            </a:r>
          </a:p>
        </p:txBody>
      </p:sp>
      <p:sp>
        <p:nvSpPr>
          <p:cNvPr id="2233" name="TextBox 2232">
            <a:extLst>
              <a:ext uri="{FF2B5EF4-FFF2-40B4-BE49-F238E27FC236}">
                <a16:creationId xmlns:a16="http://schemas.microsoft.com/office/drawing/2014/main" id="{C460F981-FD67-2489-E0EA-EEC7EAED6C51}"/>
              </a:ext>
            </a:extLst>
          </p:cNvPr>
          <p:cNvSpPr txBox="1"/>
          <p:nvPr/>
        </p:nvSpPr>
        <p:spPr>
          <a:xfrm>
            <a:off x="10985998" y="1700394"/>
            <a:ext cx="117383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neem afscheid</a:t>
            </a:r>
          </a:p>
        </p:txBody>
      </p:sp>
      <p:sp>
        <p:nvSpPr>
          <p:cNvPr id="2234" name="TextBox 2233">
            <a:extLst>
              <a:ext uri="{FF2B5EF4-FFF2-40B4-BE49-F238E27FC236}">
                <a16:creationId xmlns:a16="http://schemas.microsoft.com/office/drawing/2014/main" id="{4EC1D6C4-9D05-1B1F-975A-ADE811FDD906}"/>
              </a:ext>
            </a:extLst>
          </p:cNvPr>
          <p:cNvSpPr txBox="1"/>
          <p:nvPr/>
        </p:nvSpPr>
        <p:spPr>
          <a:xfrm>
            <a:off x="11299334" y="2490298"/>
            <a:ext cx="982755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krijg een transitie-vergoeding</a:t>
            </a:r>
          </a:p>
        </p:txBody>
      </p:sp>
      <p:sp>
        <p:nvSpPr>
          <p:cNvPr id="2236" name="Freeform 60">
            <a:extLst>
              <a:ext uri="{FF2B5EF4-FFF2-40B4-BE49-F238E27FC236}">
                <a16:creationId xmlns:a16="http://schemas.microsoft.com/office/drawing/2014/main" id="{38B50FFB-1DD0-A589-C9A1-DEAC605A5D9A}"/>
              </a:ext>
            </a:extLst>
          </p:cNvPr>
          <p:cNvSpPr/>
          <p:nvPr/>
        </p:nvSpPr>
        <p:spPr>
          <a:xfrm rot="992010" flipV="1">
            <a:off x="9174124" y="4706942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37" name="Freeform 59">
            <a:extLst>
              <a:ext uri="{FF2B5EF4-FFF2-40B4-BE49-F238E27FC236}">
                <a16:creationId xmlns:a16="http://schemas.microsoft.com/office/drawing/2014/main" id="{ECCC6EE9-FC8E-E639-F70A-D3105175DAE9}"/>
              </a:ext>
            </a:extLst>
          </p:cNvPr>
          <p:cNvSpPr>
            <a:spLocks noChangeAspect="1"/>
          </p:cNvSpPr>
          <p:nvPr/>
        </p:nvSpPr>
        <p:spPr>
          <a:xfrm rot="992010" flipV="1">
            <a:off x="9203557" y="4713746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46" name="Freeform 60">
            <a:extLst>
              <a:ext uri="{FF2B5EF4-FFF2-40B4-BE49-F238E27FC236}">
                <a16:creationId xmlns:a16="http://schemas.microsoft.com/office/drawing/2014/main" id="{37FE72CF-1EFE-9DE1-3B9E-AAEA34B1031F}"/>
              </a:ext>
            </a:extLst>
          </p:cNvPr>
          <p:cNvSpPr/>
          <p:nvPr/>
        </p:nvSpPr>
        <p:spPr>
          <a:xfrm rot="11772233" flipH="1" flipV="1">
            <a:off x="9424649" y="3844655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47" name="Freeform 59">
            <a:extLst>
              <a:ext uri="{FF2B5EF4-FFF2-40B4-BE49-F238E27FC236}">
                <a16:creationId xmlns:a16="http://schemas.microsoft.com/office/drawing/2014/main" id="{D84D68F1-B61C-5E1D-9D7E-A7C67DE27EF7}"/>
              </a:ext>
            </a:extLst>
          </p:cNvPr>
          <p:cNvSpPr>
            <a:spLocks noChangeAspect="1"/>
          </p:cNvSpPr>
          <p:nvPr/>
        </p:nvSpPr>
        <p:spPr>
          <a:xfrm rot="11772233" flipH="1" flipV="1">
            <a:off x="9404188" y="402132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5" name="Freeform 754">
            <a:extLst>
              <a:ext uri="{FF2B5EF4-FFF2-40B4-BE49-F238E27FC236}">
                <a16:creationId xmlns:a16="http://schemas.microsoft.com/office/drawing/2014/main" id="{6353C83C-F1B0-3099-BEF6-90513CD5D572}"/>
              </a:ext>
            </a:extLst>
          </p:cNvPr>
          <p:cNvSpPr/>
          <p:nvPr/>
        </p:nvSpPr>
        <p:spPr>
          <a:xfrm rot="20331072">
            <a:off x="3205047" y="1970904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6" name="Freeform 754">
            <a:extLst>
              <a:ext uri="{FF2B5EF4-FFF2-40B4-BE49-F238E27FC236}">
                <a16:creationId xmlns:a16="http://schemas.microsoft.com/office/drawing/2014/main" id="{1DFB1525-1ABB-03E8-9D82-656744A51322}"/>
              </a:ext>
            </a:extLst>
          </p:cNvPr>
          <p:cNvSpPr/>
          <p:nvPr/>
        </p:nvSpPr>
        <p:spPr>
          <a:xfrm rot="20331072">
            <a:off x="3379430" y="2527497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7" name="Freeform 754">
            <a:extLst>
              <a:ext uri="{FF2B5EF4-FFF2-40B4-BE49-F238E27FC236}">
                <a16:creationId xmlns:a16="http://schemas.microsoft.com/office/drawing/2014/main" id="{B0DB125C-8228-4B1D-D4A2-D9E6122C099F}"/>
              </a:ext>
            </a:extLst>
          </p:cNvPr>
          <p:cNvSpPr/>
          <p:nvPr/>
        </p:nvSpPr>
        <p:spPr>
          <a:xfrm rot="20331072">
            <a:off x="3378227" y="3136879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8" name="Freeform 754">
            <a:extLst>
              <a:ext uri="{FF2B5EF4-FFF2-40B4-BE49-F238E27FC236}">
                <a16:creationId xmlns:a16="http://schemas.microsoft.com/office/drawing/2014/main" id="{3867D0AA-A24F-B2F4-5811-C1B9D1D326C3}"/>
              </a:ext>
            </a:extLst>
          </p:cNvPr>
          <p:cNvSpPr/>
          <p:nvPr/>
        </p:nvSpPr>
        <p:spPr>
          <a:xfrm rot="20331072" flipH="1">
            <a:off x="3031665" y="3404215"/>
            <a:ext cx="353827" cy="30013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9" name="Freeform 754">
            <a:extLst>
              <a:ext uri="{FF2B5EF4-FFF2-40B4-BE49-F238E27FC236}">
                <a16:creationId xmlns:a16="http://schemas.microsoft.com/office/drawing/2014/main" id="{F1EA2BD5-412F-3449-F449-111F43A8764C}"/>
              </a:ext>
            </a:extLst>
          </p:cNvPr>
          <p:cNvSpPr/>
          <p:nvPr/>
        </p:nvSpPr>
        <p:spPr>
          <a:xfrm rot="20331072" flipH="1">
            <a:off x="2705214" y="4147015"/>
            <a:ext cx="673755" cy="24642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0" name="Freeform 754">
            <a:extLst>
              <a:ext uri="{FF2B5EF4-FFF2-40B4-BE49-F238E27FC236}">
                <a16:creationId xmlns:a16="http://schemas.microsoft.com/office/drawing/2014/main" id="{BD98F1BD-9AF7-3F16-07F6-81584EF6228C}"/>
              </a:ext>
            </a:extLst>
          </p:cNvPr>
          <p:cNvSpPr/>
          <p:nvPr/>
        </p:nvSpPr>
        <p:spPr>
          <a:xfrm rot="20331072" flipH="1">
            <a:off x="2841339" y="4831083"/>
            <a:ext cx="184433" cy="34438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3" name="Freeform 754">
            <a:extLst>
              <a:ext uri="{FF2B5EF4-FFF2-40B4-BE49-F238E27FC236}">
                <a16:creationId xmlns:a16="http://schemas.microsoft.com/office/drawing/2014/main" id="{A4C309E7-8F4F-EBB6-00BB-F0A5ABBBBA69}"/>
              </a:ext>
            </a:extLst>
          </p:cNvPr>
          <p:cNvSpPr/>
          <p:nvPr/>
        </p:nvSpPr>
        <p:spPr>
          <a:xfrm rot="20331072" flipH="1">
            <a:off x="3055702" y="5712292"/>
            <a:ext cx="474804" cy="5238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4" name="Freeform 754">
            <a:extLst>
              <a:ext uri="{FF2B5EF4-FFF2-40B4-BE49-F238E27FC236}">
                <a16:creationId xmlns:a16="http://schemas.microsoft.com/office/drawing/2014/main" id="{B43A07F1-FB78-BDB9-4E08-ACA87B73979F}"/>
              </a:ext>
            </a:extLst>
          </p:cNvPr>
          <p:cNvSpPr/>
          <p:nvPr/>
        </p:nvSpPr>
        <p:spPr>
          <a:xfrm rot="7869522">
            <a:off x="3811897" y="6060640"/>
            <a:ext cx="411638" cy="221110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5" name="Freeform 754">
            <a:extLst>
              <a:ext uri="{FF2B5EF4-FFF2-40B4-BE49-F238E27FC236}">
                <a16:creationId xmlns:a16="http://schemas.microsoft.com/office/drawing/2014/main" id="{8F7A826E-D229-E557-A0A9-A29F137995EE}"/>
              </a:ext>
            </a:extLst>
          </p:cNvPr>
          <p:cNvSpPr/>
          <p:nvPr/>
        </p:nvSpPr>
        <p:spPr>
          <a:xfrm rot="7869522" flipH="1" flipV="1">
            <a:off x="4609884" y="5702436"/>
            <a:ext cx="310757" cy="13891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6" name="Freeform 754">
            <a:extLst>
              <a:ext uri="{FF2B5EF4-FFF2-40B4-BE49-F238E27FC236}">
                <a16:creationId xmlns:a16="http://schemas.microsoft.com/office/drawing/2014/main" id="{DC3EE77C-CB95-F796-FBE1-7CC181223C8C}"/>
              </a:ext>
            </a:extLst>
          </p:cNvPr>
          <p:cNvSpPr/>
          <p:nvPr/>
        </p:nvSpPr>
        <p:spPr>
          <a:xfrm rot="7869522">
            <a:off x="5362959" y="5996307"/>
            <a:ext cx="254981" cy="213224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7" name="Freeform 754">
            <a:extLst>
              <a:ext uri="{FF2B5EF4-FFF2-40B4-BE49-F238E27FC236}">
                <a16:creationId xmlns:a16="http://schemas.microsoft.com/office/drawing/2014/main" id="{B00283D8-68C4-0BA1-EA49-6F584E5D2A20}"/>
              </a:ext>
            </a:extLst>
          </p:cNvPr>
          <p:cNvSpPr/>
          <p:nvPr/>
        </p:nvSpPr>
        <p:spPr>
          <a:xfrm rot="12282343" flipV="1">
            <a:off x="6009109" y="5533058"/>
            <a:ext cx="176585" cy="389984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9" name="Freeform 754">
            <a:extLst>
              <a:ext uri="{FF2B5EF4-FFF2-40B4-BE49-F238E27FC236}">
                <a16:creationId xmlns:a16="http://schemas.microsoft.com/office/drawing/2014/main" id="{630CC514-FFD6-AEFE-6066-1086576484EA}"/>
              </a:ext>
            </a:extLst>
          </p:cNvPr>
          <p:cNvSpPr/>
          <p:nvPr/>
        </p:nvSpPr>
        <p:spPr>
          <a:xfrm rot="18139270" flipH="1" flipV="1">
            <a:off x="6718822" y="5968855"/>
            <a:ext cx="281760" cy="37839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0" name="Freeform 754">
            <a:extLst>
              <a:ext uri="{FF2B5EF4-FFF2-40B4-BE49-F238E27FC236}">
                <a16:creationId xmlns:a16="http://schemas.microsoft.com/office/drawing/2014/main" id="{6C2566F9-30C0-ABBE-6B24-20B9035553A9}"/>
              </a:ext>
            </a:extLst>
          </p:cNvPr>
          <p:cNvSpPr/>
          <p:nvPr/>
        </p:nvSpPr>
        <p:spPr>
          <a:xfrm rot="18139270" flipV="1">
            <a:off x="7354045" y="5612328"/>
            <a:ext cx="150274" cy="39640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1" name="Freeform 754">
            <a:extLst>
              <a:ext uri="{FF2B5EF4-FFF2-40B4-BE49-F238E27FC236}">
                <a16:creationId xmlns:a16="http://schemas.microsoft.com/office/drawing/2014/main" id="{3DCE9BEC-3B10-8621-14C4-220F9A8C1FD2}"/>
              </a:ext>
            </a:extLst>
          </p:cNvPr>
          <p:cNvSpPr/>
          <p:nvPr/>
        </p:nvSpPr>
        <p:spPr>
          <a:xfrm rot="18139270">
            <a:off x="7124305" y="4695687"/>
            <a:ext cx="47418" cy="83761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2" name="Freeform 754">
            <a:extLst>
              <a:ext uri="{FF2B5EF4-FFF2-40B4-BE49-F238E27FC236}">
                <a16:creationId xmlns:a16="http://schemas.microsoft.com/office/drawing/2014/main" id="{15C4E7C2-90ED-B842-ADB7-C7447024FEF9}"/>
              </a:ext>
            </a:extLst>
          </p:cNvPr>
          <p:cNvSpPr/>
          <p:nvPr/>
        </p:nvSpPr>
        <p:spPr>
          <a:xfrm rot="18139270" flipH="1">
            <a:off x="7483333" y="4310502"/>
            <a:ext cx="45719" cy="51598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3" name="Freeform 754">
            <a:extLst>
              <a:ext uri="{FF2B5EF4-FFF2-40B4-BE49-F238E27FC236}">
                <a16:creationId xmlns:a16="http://schemas.microsoft.com/office/drawing/2014/main" id="{0FB0ABF8-FFC7-561C-AC7A-D3D60DAA362F}"/>
              </a:ext>
            </a:extLst>
          </p:cNvPr>
          <p:cNvSpPr/>
          <p:nvPr/>
        </p:nvSpPr>
        <p:spPr>
          <a:xfrm rot="18139270" flipH="1" flipV="1">
            <a:off x="9106395" y="5388231"/>
            <a:ext cx="372445" cy="23707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280" name="Graphic 2279">
            <a:extLst>
              <a:ext uri="{FF2B5EF4-FFF2-40B4-BE49-F238E27FC236}">
                <a16:creationId xmlns:a16="http://schemas.microsoft.com/office/drawing/2014/main" id="{4939C118-45D4-3045-F928-058476B9AD09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87243" y="1275564"/>
            <a:ext cx="1543148" cy="1543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81" name="Freeform 754">
            <a:extLst>
              <a:ext uri="{FF2B5EF4-FFF2-40B4-BE49-F238E27FC236}">
                <a16:creationId xmlns:a16="http://schemas.microsoft.com/office/drawing/2014/main" id="{BFE8D47E-A610-B6AA-9979-A1DFB8C3EA77}"/>
              </a:ext>
            </a:extLst>
          </p:cNvPr>
          <p:cNvSpPr/>
          <p:nvPr/>
        </p:nvSpPr>
        <p:spPr>
          <a:xfrm rot="8268534" flipV="1">
            <a:off x="8508348" y="2120315"/>
            <a:ext cx="256178" cy="47508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2" name="Freeform 754">
            <a:extLst>
              <a:ext uri="{FF2B5EF4-FFF2-40B4-BE49-F238E27FC236}">
                <a16:creationId xmlns:a16="http://schemas.microsoft.com/office/drawing/2014/main" id="{13967F71-1F00-B50F-7D56-FD81A8903B87}"/>
              </a:ext>
            </a:extLst>
          </p:cNvPr>
          <p:cNvSpPr/>
          <p:nvPr/>
        </p:nvSpPr>
        <p:spPr>
          <a:xfrm rot="18139270" flipH="1">
            <a:off x="8621818" y="1737306"/>
            <a:ext cx="87288" cy="43529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3" name="Freeform 754">
            <a:extLst>
              <a:ext uri="{FF2B5EF4-FFF2-40B4-BE49-F238E27FC236}">
                <a16:creationId xmlns:a16="http://schemas.microsoft.com/office/drawing/2014/main" id="{AE72B476-1CBB-41B8-0ED6-3CF95D46AFC2}"/>
              </a:ext>
            </a:extLst>
          </p:cNvPr>
          <p:cNvSpPr/>
          <p:nvPr/>
        </p:nvSpPr>
        <p:spPr>
          <a:xfrm rot="3460730" flipH="1" flipV="1">
            <a:off x="8264350" y="416048"/>
            <a:ext cx="533337" cy="51422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4" name="Freeform 754">
            <a:extLst>
              <a:ext uri="{FF2B5EF4-FFF2-40B4-BE49-F238E27FC236}">
                <a16:creationId xmlns:a16="http://schemas.microsoft.com/office/drawing/2014/main" id="{DA23EB02-48FB-0C8C-29B1-06124388A641}"/>
              </a:ext>
            </a:extLst>
          </p:cNvPr>
          <p:cNvSpPr/>
          <p:nvPr/>
        </p:nvSpPr>
        <p:spPr>
          <a:xfrm rot="3460730" flipH="1" flipV="1">
            <a:off x="8547636" y="979139"/>
            <a:ext cx="279202" cy="30529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5" name="Freeform 754">
            <a:extLst>
              <a:ext uri="{FF2B5EF4-FFF2-40B4-BE49-F238E27FC236}">
                <a16:creationId xmlns:a16="http://schemas.microsoft.com/office/drawing/2014/main" id="{5B8E44B3-6A9F-FF60-0F07-0EFACCF47772}"/>
              </a:ext>
            </a:extLst>
          </p:cNvPr>
          <p:cNvSpPr/>
          <p:nvPr/>
        </p:nvSpPr>
        <p:spPr>
          <a:xfrm rot="3460730" flipH="1" flipV="1">
            <a:off x="8428528" y="1359550"/>
            <a:ext cx="380610" cy="39985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6" name="Freeform 754">
            <a:extLst>
              <a:ext uri="{FF2B5EF4-FFF2-40B4-BE49-F238E27FC236}">
                <a16:creationId xmlns:a16="http://schemas.microsoft.com/office/drawing/2014/main" id="{74C7CFC9-28A1-BBA6-CB1D-3823606504FD}"/>
              </a:ext>
            </a:extLst>
          </p:cNvPr>
          <p:cNvSpPr/>
          <p:nvPr/>
        </p:nvSpPr>
        <p:spPr>
          <a:xfrm rot="7114806">
            <a:off x="10429859" y="2215642"/>
            <a:ext cx="158963" cy="2589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7" name="Freeform 754">
            <a:extLst>
              <a:ext uri="{FF2B5EF4-FFF2-40B4-BE49-F238E27FC236}">
                <a16:creationId xmlns:a16="http://schemas.microsoft.com/office/drawing/2014/main" id="{AA32F6FF-B89B-6C60-C83A-0E3EFD8D8F59}"/>
              </a:ext>
            </a:extLst>
          </p:cNvPr>
          <p:cNvSpPr/>
          <p:nvPr/>
        </p:nvSpPr>
        <p:spPr>
          <a:xfrm rot="7114806">
            <a:off x="11673176" y="2225385"/>
            <a:ext cx="158963" cy="2589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8" name="Freeform 754">
            <a:extLst>
              <a:ext uri="{FF2B5EF4-FFF2-40B4-BE49-F238E27FC236}">
                <a16:creationId xmlns:a16="http://schemas.microsoft.com/office/drawing/2014/main" id="{4FDDA4E9-4D8F-8B03-BA48-4565F6BCBE27}"/>
              </a:ext>
            </a:extLst>
          </p:cNvPr>
          <p:cNvSpPr/>
          <p:nvPr/>
        </p:nvSpPr>
        <p:spPr>
          <a:xfrm rot="7114806" flipH="1" flipV="1">
            <a:off x="11224025" y="1979212"/>
            <a:ext cx="244220" cy="18215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9" name="Freeform 754">
            <a:extLst>
              <a:ext uri="{FF2B5EF4-FFF2-40B4-BE49-F238E27FC236}">
                <a16:creationId xmlns:a16="http://schemas.microsoft.com/office/drawing/2014/main" id="{486B937B-513B-BCB4-70C7-75670C527343}"/>
              </a:ext>
            </a:extLst>
          </p:cNvPr>
          <p:cNvSpPr/>
          <p:nvPr/>
        </p:nvSpPr>
        <p:spPr>
          <a:xfrm rot="7114806" flipH="1" flipV="1">
            <a:off x="10694078" y="1795902"/>
            <a:ext cx="394813" cy="29847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96" name="Freeform 9">
            <a:extLst>
              <a:ext uri="{FF2B5EF4-FFF2-40B4-BE49-F238E27FC236}">
                <a16:creationId xmlns:a16="http://schemas.microsoft.com/office/drawing/2014/main" id="{AC663483-DD2D-5133-ED12-38B2DA56D4F4}"/>
              </a:ext>
            </a:extLst>
          </p:cNvPr>
          <p:cNvSpPr>
            <a:spLocks noChangeAspect="1"/>
          </p:cNvSpPr>
          <p:nvPr/>
        </p:nvSpPr>
        <p:spPr>
          <a:xfrm rot="1091119">
            <a:off x="10160011" y="6171824"/>
            <a:ext cx="2426234" cy="436604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7" name="Freeform 10">
            <a:extLst>
              <a:ext uri="{FF2B5EF4-FFF2-40B4-BE49-F238E27FC236}">
                <a16:creationId xmlns:a16="http://schemas.microsoft.com/office/drawing/2014/main" id="{2D90482D-AA43-AAAA-A010-E197374D180B}"/>
              </a:ext>
            </a:extLst>
          </p:cNvPr>
          <p:cNvSpPr>
            <a:spLocks noChangeAspect="1"/>
          </p:cNvSpPr>
          <p:nvPr/>
        </p:nvSpPr>
        <p:spPr>
          <a:xfrm rot="1091119">
            <a:off x="11008768" y="6382147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8" name="Freeform 10">
            <a:extLst>
              <a:ext uri="{FF2B5EF4-FFF2-40B4-BE49-F238E27FC236}">
                <a16:creationId xmlns:a16="http://schemas.microsoft.com/office/drawing/2014/main" id="{08C4B94C-5DCA-837A-990E-305D3CA69348}"/>
              </a:ext>
            </a:extLst>
          </p:cNvPr>
          <p:cNvSpPr>
            <a:spLocks noChangeAspect="1"/>
          </p:cNvSpPr>
          <p:nvPr/>
        </p:nvSpPr>
        <p:spPr>
          <a:xfrm rot="1091119">
            <a:off x="10255055" y="6134552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9" name="Freeform 10">
            <a:extLst>
              <a:ext uri="{FF2B5EF4-FFF2-40B4-BE49-F238E27FC236}">
                <a16:creationId xmlns:a16="http://schemas.microsoft.com/office/drawing/2014/main" id="{0D49ED15-4BCF-B2DC-B9F9-6FB765F68334}"/>
              </a:ext>
            </a:extLst>
          </p:cNvPr>
          <p:cNvSpPr>
            <a:spLocks noChangeAspect="1"/>
          </p:cNvSpPr>
          <p:nvPr/>
        </p:nvSpPr>
        <p:spPr>
          <a:xfrm rot="1091119">
            <a:off x="11718907" y="6615427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grpSp>
        <p:nvGrpSpPr>
          <p:cNvPr id="16" name="Graphic 3">
            <a:extLst>
              <a:ext uri="{FF2B5EF4-FFF2-40B4-BE49-F238E27FC236}">
                <a16:creationId xmlns:a16="http://schemas.microsoft.com/office/drawing/2014/main" id="{18B00588-2A6D-5440-EE6B-115BDA48D593}"/>
              </a:ext>
            </a:extLst>
          </p:cNvPr>
          <p:cNvGrpSpPr/>
          <p:nvPr/>
        </p:nvGrpSpPr>
        <p:grpSpPr>
          <a:xfrm>
            <a:off x="1861643" y="4721014"/>
            <a:ext cx="502352" cy="964853"/>
            <a:chOff x="1861643" y="4367105"/>
            <a:chExt cx="502352" cy="964853"/>
          </a:xfr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71B5800A-A46A-CE60-048A-549136AA61EF}"/>
                </a:ext>
              </a:extLst>
            </p:cNvPr>
            <p:cNvSpPr/>
            <p:nvPr/>
          </p:nvSpPr>
          <p:spPr>
            <a:xfrm>
              <a:off x="1861643" y="4367105"/>
              <a:ext cx="502352" cy="964853"/>
            </a:xfrm>
            <a:custGeom>
              <a:avLst/>
              <a:gdLst>
                <a:gd name="connsiteX0" fmla="*/ 473654 w 502352"/>
                <a:gd name="connsiteY0" fmla="*/ 788 h 964853"/>
                <a:gd name="connsiteX1" fmla="*/ 432981 w 502352"/>
                <a:gd name="connsiteY1" fmla="*/ 28235 h 964853"/>
                <a:gd name="connsiteX2" fmla="*/ 391275 w 502352"/>
                <a:gd name="connsiteY2" fmla="*/ 181796 h 964853"/>
                <a:gd name="connsiteX3" fmla="*/ 299760 w 502352"/>
                <a:gd name="connsiteY3" fmla="*/ 241773 h 964853"/>
                <a:gd name="connsiteX4" fmla="*/ 202128 w 502352"/>
                <a:gd name="connsiteY4" fmla="*/ 241773 h 964853"/>
                <a:gd name="connsiteX5" fmla="*/ 110614 w 502352"/>
                <a:gd name="connsiteY5" fmla="*/ 181796 h 964853"/>
                <a:gd name="connsiteX6" fmla="*/ 68908 w 502352"/>
                <a:gd name="connsiteY6" fmla="*/ 28235 h 964853"/>
                <a:gd name="connsiteX7" fmla="*/ 28235 w 502352"/>
                <a:gd name="connsiteY7" fmla="*/ 788 h 964853"/>
                <a:gd name="connsiteX8" fmla="*/ 788 w 502352"/>
                <a:gd name="connsiteY8" fmla="*/ 41461 h 964853"/>
                <a:gd name="connsiteX9" fmla="*/ 46546 w 502352"/>
                <a:gd name="connsiteY9" fmla="*/ 208201 h 964853"/>
                <a:gd name="connsiteX10" fmla="*/ 144177 w 502352"/>
                <a:gd name="connsiteY10" fmla="*/ 301741 h 964853"/>
                <a:gd name="connsiteX11" fmla="*/ 155379 w 502352"/>
                <a:gd name="connsiteY11" fmla="*/ 316993 h 964853"/>
                <a:gd name="connsiteX12" fmla="*/ 160463 w 502352"/>
                <a:gd name="connsiteY12" fmla="*/ 581369 h 964853"/>
                <a:gd name="connsiteX13" fmla="*/ 129958 w 502352"/>
                <a:gd name="connsiteY13" fmla="*/ 915885 h 964853"/>
                <a:gd name="connsiteX14" fmla="*/ 170631 w 502352"/>
                <a:gd name="connsiteY14" fmla="*/ 964701 h 964853"/>
                <a:gd name="connsiteX15" fmla="*/ 219447 w 502352"/>
                <a:gd name="connsiteY15" fmla="*/ 924028 h 964853"/>
                <a:gd name="connsiteX16" fmla="*/ 249952 w 502352"/>
                <a:gd name="connsiteY16" fmla="*/ 596619 h 964853"/>
                <a:gd name="connsiteX17" fmla="*/ 253011 w 502352"/>
                <a:gd name="connsiteY17" fmla="*/ 596619 h 964853"/>
                <a:gd name="connsiteX18" fmla="*/ 283515 w 502352"/>
                <a:gd name="connsiteY18" fmla="*/ 924028 h 964853"/>
                <a:gd name="connsiteX19" fmla="*/ 328240 w 502352"/>
                <a:gd name="connsiteY19" fmla="*/ 964701 h 964853"/>
                <a:gd name="connsiteX20" fmla="*/ 332291 w 502352"/>
                <a:gd name="connsiteY20" fmla="*/ 964701 h 964853"/>
                <a:gd name="connsiteX21" fmla="*/ 372964 w 502352"/>
                <a:gd name="connsiteY21" fmla="*/ 915885 h 964853"/>
                <a:gd name="connsiteX22" fmla="*/ 342459 w 502352"/>
                <a:gd name="connsiteY22" fmla="*/ 581369 h 964853"/>
                <a:gd name="connsiteX23" fmla="*/ 347543 w 502352"/>
                <a:gd name="connsiteY23" fmla="*/ 316993 h 964853"/>
                <a:gd name="connsiteX24" fmla="*/ 358744 w 502352"/>
                <a:gd name="connsiteY24" fmla="*/ 301741 h 964853"/>
                <a:gd name="connsiteX25" fmla="*/ 456376 w 502352"/>
                <a:gd name="connsiteY25" fmla="*/ 208201 h 964853"/>
                <a:gd name="connsiteX26" fmla="*/ 502133 w 502352"/>
                <a:gd name="connsiteY26" fmla="*/ 41461 h 964853"/>
                <a:gd name="connsiteX27" fmla="*/ 473654 w 502352"/>
                <a:gd name="connsiteY27" fmla="*/ 788 h 964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02352" h="964853">
                  <a:moveTo>
                    <a:pt x="473654" y="788"/>
                  </a:moveTo>
                  <a:cubicBezTo>
                    <a:pt x="454351" y="-3263"/>
                    <a:pt x="436040" y="9924"/>
                    <a:pt x="432981" y="28235"/>
                  </a:cubicBezTo>
                  <a:cubicBezTo>
                    <a:pt x="432981" y="29267"/>
                    <a:pt x="412644" y="129917"/>
                    <a:pt x="391275" y="181796"/>
                  </a:cubicBezTo>
                  <a:cubicBezTo>
                    <a:pt x="373997" y="222469"/>
                    <a:pt x="344484" y="241773"/>
                    <a:pt x="299760" y="241773"/>
                  </a:cubicBezTo>
                  <a:lnTo>
                    <a:pt x="202128" y="241773"/>
                  </a:lnTo>
                  <a:cubicBezTo>
                    <a:pt x="157404" y="241773"/>
                    <a:pt x="126899" y="222469"/>
                    <a:pt x="110614" y="181796"/>
                  </a:cubicBezTo>
                  <a:cubicBezTo>
                    <a:pt x="89244" y="129921"/>
                    <a:pt x="68908" y="29272"/>
                    <a:pt x="68908" y="28235"/>
                  </a:cubicBezTo>
                  <a:cubicBezTo>
                    <a:pt x="64857" y="8931"/>
                    <a:pt x="46546" y="-3303"/>
                    <a:pt x="28235" y="788"/>
                  </a:cubicBezTo>
                  <a:cubicBezTo>
                    <a:pt x="8931" y="4840"/>
                    <a:pt x="-3303" y="23150"/>
                    <a:pt x="788" y="41461"/>
                  </a:cubicBezTo>
                  <a:cubicBezTo>
                    <a:pt x="1821" y="45513"/>
                    <a:pt x="22158" y="150252"/>
                    <a:pt x="46546" y="208201"/>
                  </a:cubicBezTo>
                  <a:cubicBezTo>
                    <a:pt x="66882" y="255984"/>
                    <a:pt x="100446" y="287522"/>
                    <a:pt x="144177" y="301741"/>
                  </a:cubicBezTo>
                  <a:cubicBezTo>
                    <a:pt x="150295" y="303767"/>
                    <a:pt x="155379" y="309884"/>
                    <a:pt x="155379" y="316993"/>
                  </a:cubicBezTo>
                  <a:lnTo>
                    <a:pt x="160463" y="581369"/>
                  </a:lnTo>
                  <a:lnTo>
                    <a:pt x="129958" y="915885"/>
                  </a:lnTo>
                  <a:cubicBezTo>
                    <a:pt x="127933" y="940272"/>
                    <a:pt x="146244" y="962675"/>
                    <a:pt x="170631" y="964701"/>
                  </a:cubicBezTo>
                  <a:cubicBezTo>
                    <a:pt x="195019" y="966726"/>
                    <a:pt x="217422" y="948415"/>
                    <a:pt x="219447" y="924028"/>
                  </a:cubicBezTo>
                  <a:lnTo>
                    <a:pt x="249952" y="596619"/>
                  </a:lnTo>
                  <a:lnTo>
                    <a:pt x="253011" y="596619"/>
                  </a:lnTo>
                  <a:lnTo>
                    <a:pt x="283515" y="924028"/>
                  </a:lnTo>
                  <a:cubicBezTo>
                    <a:pt x="285541" y="947423"/>
                    <a:pt x="304885" y="964701"/>
                    <a:pt x="328240" y="964701"/>
                  </a:cubicBezTo>
                  <a:lnTo>
                    <a:pt x="332291" y="964701"/>
                  </a:lnTo>
                  <a:cubicBezTo>
                    <a:pt x="356678" y="962675"/>
                    <a:pt x="374989" y="940313"/>
                    <a:pt x="372964" y="915885"/>
                  </a:cubicBezTo>
                  <a:lnTo>
                    <a:pt x="342459" y="581369"/>
                  </a:lnTo>
                  <a:lnTo>
                    <a:pt x="347543" y="316993"/>
                  </a:lnTo>
                  <a:cubicBezTo>
                    <a:pt x="347543" y="309884"/>
                    <a:pt x="352627" y="303767"/>
                    <a:pt x="358744" y="301741"/>
                  </a:cubicBezTo>
                  <a:cubicBezTo>
                    <a:pt x="403469" y="287522"/>
                    <a:pt x="437032" y="254951"/>
                    <a:pt x="456376" y="208201"/>
                  </a:cubicBezTo>
                  <a:cubicBezTo>
                    <a:pt x="480764" y="149217"/>
                    <a:pt x="501100" y="45508"/>
                    <a:pt x="502133" y="41461"/>
                  </a:cubicBezTo>
                  <a:cubicBezTo>
                    <a:pt x="504159" y="22118"/>
                    <a:pt x="491965" y="3807"/>
                    <a:pt x="473654" y="78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737E75C6-6E0A-A67D-937C-3213B616D796}"/>
                </a:ext>
              </a:extLst>
            </p:cNvPr>
            <p:cNvSpPr/>
            <p:nvPr/>
          </p:nvSpPr>
          <p:spPr>
            <a:xfrm>
              <a:off x="2014996" y="4380089"/>
              <a:ext cx="193197" cy="193197"/>
            </a:xfrm>
            <a:custGeom>
              <a:avLst/>
              <a:gdLst>
                <a:gd name="connsiteX0" fmla="*/ 193197 w 193197"/>
                <a:gd name="connsiteY0" fmla="*/ 96599 h 193197"/>
                <a:gd name="connsiteX1" fmla="*/ 96599 w 193197"/>
                <a:gd name="connsiteY1" fmla="*/ 193197 h 193197"/>
                <a:gd name="connsiteX2" fmla="*/ 0 w 193197"/>
                <a:gd name="connsiteY2" fmla="*/ 96599 h 193197"/>
                <a:gd name="connsiteX3" fmla="*/ 96599 w 193197"/>
                <a:gd name="connsiteY3" fmla="*/ 0 h 193197"/>
                <a:gd name="connsiteX4" fmla="*/ 193197 w 193197"/>
                <a:gd name="connsiteY4" fmla="*/ 96599 h 193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197" h="193197">
                  <a:moveTo>
                    <a:pt x="193197" y="96599"/>
                  </a:moveTo>
                  <a:cubicBezTo>
                    <a:pt x="193197" y="149942"/>
                    <a:pt x="149942" y="193197"/>
                    <a:pt x="96599" y="193197"/>
                  </a:cubicBezTo>
                  <a:cubicBezTo>
                    <a:pt x="43255" y="193197"/>
                    <a:pt x="0" y="149942"/>
                    <a:pt x="0" y="96599"/>
                  </a:cubicBezTo>
                  <a:cubicBezTo>
                    <a:pt x="0" y="43255"/>
                    <a:pt x="43255" y="0"/>
                    <a:pt x="96599" y="0"/>
                  </a:cubicBezTo>
                  <a:cubicBezTo>
                    <a:pt x="149942" y="0"/>
                    <a:pt x="193197" y="43255"/>
                    <a:pt x="193197" y="96599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EBA2B6F-34E1-1BED-E8B6-415CCC99342A}"/>
              </a:ext>
            </a:extLst>
          </p:cNvPr>
          <p:cNvSpPr/>
          <p:nvPr/>
        </p:nvSpPr>
        <p:spPr>
          <a:xfrm>
            <a:off x="2291447" y="5146162"/>
            <a:ext cx="143674" cy="143674"/>
          </a:xfrm>
          <a:custGeom>
            <a:avLst/>
            <a:gdLst>
              <a:gd name="connsiteX0" fmla="*/ 173084 w 346321"/>
              <a:gd name="connsiteY0" fmla="*/ 346321 h 346321"/>
              <a:gd name="connsiteX1" fmla="*/ 216393 w 346321"/>
              <a:gd name="connsiteY1" fmla="*/ 216393 h 346321"/>
              <a:gd name="connsiteX2" fmla="*/ 346321 w 346321"/>
              <a:gd name="connsiteY2" fmla="*/ 173084 h 346321"/>
              <a:gd name="connsiteX3" fmla="*/ 216393 w 346321"/>
              <a:gd name="connsiteY3" fmla="*/ 129776 h 346321"/>
              <a:gd name="connsiteX4" fmla="*/ 173084 w 346321"/>
              <a:gd name="connsiteY4" fmla="*/ 0 h 346321"/>
              <a:gd name="connsiteX5" fmla="*/ 129776 w 346321"/>
              <a:gd name="connsiteY5" fmla="*/ 129776 h 346321"/>
              <a:gd name="connsiteX6" fmla="*/ 0 w 346321"/>
              <a:gd name="connsiteY6" fmla="*/ 173084 h 346321"/>
              <a:gd name="connsiteX7" fmla="*/ 129776 w 346321"/>
              <a:gd name="connsiteY7" fmla="*/ 216393 h 346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321" h="346321">
                <a:moveTo>
                  <a:pt x="173084" y="346321"/>
                </a:moveTo>
                <a:lnTo>
                  <a:pt x="216393" y="216393"/>
                </a:lnTo>
                <a:lnTo>
                  <a:pt x="346321" y="173084"/>
                </a:lnTo>
                <a:lnTo>
                  <a:pt x="216393" y="129776"/>
                </a:lnTo>
                <a:lnTo>
                  <a:pt x="173084" y="0"/>
                </a:lnTo>
                <a:lnTo>
                  <a:pt x="129776" y="129776"/>
                </a:lnTo>
                <a:lnTo>
                  <a:pt x="0" y="173084"/>
                </a:lnTo>
                <a:lnTo>
                  <a:pt x="129776" y="216393"/>
                </a:ln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3AFAEFC2-91D6-B440-3F37-0DA7F5B90D40}"/>
              </a:ext>
            </a:extLst>
          </p:cNvPr>
          <p:cNvSpPr/>
          <p:nvPr/>
        </p:nvSpPr>
        <p:spPr>
          <a:xfrm>
            <a:off x="1701282" y="4990676"/>
            <a:ext cx="223044" cy="223047"/>
          </a:xfrm>
          <a:custGeom>
            <a:avLst/>
            <a:gdLst>
              <a:gd name="connsiteX0" fmla="*/ 216545 w 346321"/>
              <a:gd name="connsiteY0" fmla="*/ 129929 h 346325"/>
              <a:gd name="connsiteX1" fmla="*/ 173237 w 346321"/>
              <a:gd name="connsiteY1" fmla="*/ 0 h 346325"/>
              <a:gd name="connsiteX2" fmla="*/ 129929 w 346321"/>
              <a:gd name="connsiteY2" fmla="*/ 129929 h 346325"/>
              <a:gd name="connsiteX3" fmla="*/ 0 w 346321"/>
              <a:gd name="connsiteY3" fmla="*/ 173088 h 346325"/>
              <a:gd name="connsiteX4" fmla="*/ 129929 w 346321"/>
              <a:gd name="connsiteY4" fmla="*/ 216397 h 346325"/>
              <a:gd name="connsiteX5" fmla="*/ 173237 w 346321"/>
              <a:gd name="connsiteY5" fmla="*/ 346325 h 346325"/>
              <a:gd name="connsiteX6" fmla="*/ 216545 w 346321"/>
              <a:gd name="connsiteY6" fmla="*/ 216397 h 346325"/>
              <a:gd name="connsiteX7" fmla="*/ 346322 w 346321"/>
              <a:gd name="connsiteY7" fmla="*/ 173088 h 34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321" h="346325">
                <a:moveTo>
                  <a:pt x="216545" y="129929"/>
                </a:moveTo>
                <a:lnTo>
                  <a:pt x="173237" y="0"/>
                </a:lnTo>
                <a:lnTo>
                  <a:pt x="129929" y="129929"/>
                </a:lnTo>
                <a:lnTo>
                  <a:pt x="0" y="173088"/>
                </a:lnTo>
                <a:lnTo>
                  <a:pt x="129929" y="216397"/>
                </a:lnTo>
                <a:lnTo>
                  <a:pt x="173237" y="346325"/>
                </a:lnTo>
                <a:lnTo>
                  <a:pt x="216545" y="216397"/>
                </a:lnTo>
                <a:lnTo>
                  <a:pt x="346322" y="173088"/>
                </a:ln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13799F4-0036-3ED8-D3EA-F8B6E7145767}"/>
              </a:ext>
            </a:extLst>
          </p:cNvPr>
          <p:cNvSpPr txBox="1"/>
          <p:nvPr/>
        </p:nvSpPr>
        <p:spPr>
          <a:xfrm>
            <a:off x="10082641" y="5175718"/>
            <a:ext cx="99700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een nieuwe baan</a:t>
            </a:r>
          </a:p>
        </p:txBody>
      </p:sp>
      <p:sp>
        <p:nvSpPr>
          <p:cNvPr id="32" name="Freeform 754">
            <a:extLst>
              <a:ext uri="{FF2B5EF4-FFF2-40B4-BE49-F238E27FC236}">
                <a16:creationId xmlns:a16="http://schemas.microsoft.com/office/drawing/2014/main" id="{A3844F28-ED27-6DFF-0BD3-1E9EC0DD42F4}"/>
              </a:ext>
            </a:extLst>
          </p:cNvPr>
          <p:cNvSpPr/>
          <p:nvPr/>
        </p:nvSpPr>
        <p:spPr>
          <a:xfrm rot="18139270" flipV="1">
            <a:off x="9839185" y="5555477"/>
            <a:ext cx="485587" cy="5905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TextBox 2231">
            <a:extLst>
              <a:ext uri="{FF2B5EF4-FFF2-40B4-BE49-F238E27FC236}">
                <a16:creationId xmlns:a16="http://schemas.microsoft.com/office/drawing/2014/main" id="{40F19284-AE9A-CA70-4903-2B9F89BF089D}"/>
              </a:ext>
            </a:extLst>
          </p:cNvPr>
          <p:cNvSpPr txBox="1"/>
          <p:nvPr/>
        </p:nvSpPr>
        <p:spPr>
          <a:xfrm>
            <a:off x="10879425" y="5339862"/>
            <a:ext cx="1280406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n teken een vaststelling-overeenkomst</a:t>
            </a:r>
          </a:p>
        </p:txBody>
      </p:sp>
      <p:sp>
        <p:nvSpPr>
          <p:cNvPr id="34" name="TextBox 2232">
            <a:extLst>
              <a:ext uri="{FF2B5EF4-FFF2-40B4-BE49-F238E27FC236}">
                <a16:creationId xmlns:a16="http://schemas.microsoft.com/office/drawing/2014/main" id="{48057C73-C2B4-3A0A-40B1-FEACF1B81A34}"/>
              </a:ext>
            </a:extLst>
          </p:cNvPr>
          <p:cNvSpPr txBox="1"/>
          <p:nvPr/>
        </p:nvSpPr>
        <p:spPr>
          <a:xfrm>
            <a:off x="11451056" y="5844231"/>
            <a:ext cx="77471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neem afscheid</a:t>
            </a:r>
          </a:p>
        </p:txBody>
      </p:sp>
      <p:sp>
        <p:nvSpPr>
          <p:cNvPr id="35" name="Freeform 754">
            <a:extLst>
              <a:ext uri="{FF2B5EF4-FFF2-40B4-BE49-F238E27FC236}">
                <a16:creationId xmlns:a16="http://schemas.microsoft.com/office/drawing/2014/main" id="{E29BB47B-139C-45ED-5686-69A4D7950448}"/>
              </a:ext>
            </a:extLst>
          </p:cNvPr>
          <p:cNvSpPr/>
          <p:nvPr/>
        </p:nvSpPr>
        <p:spPr>
          <a:xfrm rot="7114806" flipH="1" flipV="1">
            <a:off x="11768945" y="6272619"/>
            <a:ext cx="244220" cy="18215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7" name="Freeform 754">
            <a:extLst>
              <a:ext uri="{FF2B5EF4-FFF2-40B4-BE49-F238E27FC236}">
                <a16:creationId xmlns:a16="http://schemas.microsoft.com/office/drawing/2014/main" id="{976D4BB2-E174-2D7C-2E99-9E18C3E199E4}"/>
              </a:ext>
            </a:extLst>
          </p:cNvPr>
          <p:cNvSpPr/>
          <p:nvPr/>
        </p:nvSpPr>
        <p:spPr>
          <a:xfrm rot="18139270" flipV="1">
            <a:off x="10689204" y="5951742"/>
            <a:ext cx="485587" cy="5905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DB3AEAE-65E9-9F90-8698-698BDBFC3854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55291" y="3776218"/>
            <a:ext cx="1543148" cy="1543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2230">
            <a:extLst>
              <a:ext uri="{FF2B5EF4-FFF2-40B4-BE49-F238E27FC236}">
                <a16:creationId xmlns:a16="http://schemas.microsoft.com/office/drawing/2014/main" id="{C5EBAF3B-6171-BFD3-B982-2960F6D6179E}"/>
              </a:ext>
            </a:extLst>
          </p:cNvPr>
          <p:cNvSpPr txBox="1"/>
          <p:nvPr/>
        </p:nvSpPr>
        <p:spPr>
          <a:xfrm>
            <a:off x="10069892" y="3613737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heb een nieuwe baa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" name="Freeform: Shape 2187">
            <a:extLst>
              <a:ext uri="{FF2B5EF4-FFF2-40B4-BE49-F238E27FC236}">
                <a16:creationId xmlns:a16="http://schemas.microsoft.com/office/drawing/2014/main" id="{E7A84BD0-4239-AA5A-5E06-DD4D5CB2B385}"/>
              </a:ext>
            </a:extLst>
          </p:cNvPr>
          <p:cNvSpPr/>
          <p:nvPr/>
        </p:nvSpPr>
        <p:spPr>
          <a:xfrm>
            <a:off x="3324738" y="689047"/>
            <a:ext cx="106618" cy="150218"/>
          </a:xfrm>
          <a:custGeom>
            <a:avLst/>
            <a:gdLst>
              <a:gd name="connsiteX0" fmla="*/ 47758 w 106618"/>
              <a:gd name="connsiteY0" fmla="*/ 142147 h 150218"/>
              <a:gd name="connsiteX1" fmla="*/ 105130 w 106618"/>
              <a:gd name="connsiteY1" fmla="*/ 31100 h 150218"/>
              <a:gd name="connsiteX2" fmla="*/ 99575 w 106618"/>
              <a:gd name="connsiteY2" fmla="*/ 12592 h 150218"/>
              <a:gd name="connsiteX3" fmla="*/ 77369 w 106618"/>
              <a:gd name="connsiteY3" fmla="*/ 1489 h 150218"/>
              <a:gd name="connsiteX4" fmla="*/ 58861 w 106618"/>
              <a:gd name="connsiteY4" fmla="*/ 7043 h 150218"/>
              <a:gd name="connsiteX5" fmla="*/ 1489 w 106618"/>
              <a:gd name="connsiteY5" fmla="*/ 119939 h 150218"/>
              <a:gd name="connsiteX6" fmla="*/ 7044 w 106618"/>
              <a:gd name="connsiteY6" fmla="*/ 138447 h 150218"/>
              <a:gd name="connsiteX7" fmla="*/ 29250 w 106618"/>
              <a:gd name="connsiteY7" fmla="*/ 149551 h 150218"/>
              <a:gd name="connsiteX8" fmla="*/ 47758 w 106618"/>
              <a:gd name="connsiteY8" fmla="*/ 142147 h 150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618" h="150218">
                <a:moveTo>
                  <a:pt x="47758" y="142147"/>
                </a:moveTo>
                <a:lnTo>
                  <a:pt x="105130" y="31100"/>
                </a:lnTo>
                <a:cubicBezTo>
                  <a:pt x="108829" y="23696"/>
                  <a:pt x="105130" y="16291"/>
                  <a:pt x="99575" y="12592"/>
                </a:cubicBezTo>
                <a:lnTo>
                  <a:pt x="77369" y="1489"/>
                </a:lnTo>
                <a:cubicBezTo>
                  <a:pt x="69966" y="-2211"/>
                  <a:pt x="62561" y="1489"/>
                  <a:pt x="58861" y="7043"/>
                </a:cubicBezTo>
                <a:lnTo>
                  <a:pt x="1489" y="119939"/>
                </a:lnTo>
                <a:cubicBezTo>
                  <a:pt x="-2210" y="127344"/>
                  <a:pt x="1489" y="134748"/>
                  <a:pt x="7044" y="138447"/>
                </a:cubicBezTo>
                <a:lnTo>
                  <a:pt x="29250" y="149551"/>
                </a:lnTo>
                <a:cubicBezTo>
                  <a:pt x="36655" y="151401"/>
                  <a:pt x="45909" y="149551"/>
                  <a:pt x="47758" y="142147"/>
                </a:cubicBezTo>
                <a:close/>
              </a:path>
            </a:pathLst>
          </a:custGeom>
          <a:solidFill>
            <a:schemeClr val="accent2"/>
          </a:solidFill>
          <a:ln w="213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4" name="Group 18">
            <a:extLst>
              <a:ext uri="{FF2B5EF4-FFF2-40B4-BE49-F238E27FC236}">
                <a16:creationId xmlns:a16="http://schemas.microsoft.com/office/drawing/2014/main" id="{895D865D-49A8-A966-E262-B582291E84FA}"/>
              </a:ext>
            </a:extLst>
          </p:cNvPr>
          <p:cNvGrpSpPr/>
          <p:nvPr/>
        </p:nvGrpSpPr>
        <p:grpSpPr>
          <a:xfrm>
            <a:off x="2793890" y="559081"/>
            <a:ext cx="736222" cy="1315949"/>
            <a:chOff x="2695220" y="180458"/>
            <a:chExt cx="736222" cy="131594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Freeform: Shape 2186">
              <a:extLst>
                <a:ext uri="{FF2B5EF4-FFF2-40B4-BE49-F238E27FC236}">
                  <a16:creationId xmlns:a16="http://schemas.microsoft.com/office/drawing/2014/main" id="{0F5873E5-995B-B504-2B78-C2D932EEEEDE}"/>
                </a:ext>
              </a:extLst>
            </p:cNvPr>
            <p:cNvSpPr/>
            <p:nvPr/>
          </p:nvSpPr>
          <p:spPr>
            <a:xfrm>
              <a:off x="2785741" y="402657"/>
              <a:ext cx="645701" cy="1093750"/>
            </a:xfrm>
            <a:custGeom>
              <a:avLst/>
              <a:gdLst>
                <a:gd name="connsiteX0" fmla="*/ 612087 w 645701"/>
                <a:gd name="connsiteY0" fmla="*/ 7346 h 1093750"/>
                <a:gd name="connsiteX1" fmla="*/ 526953 w 645701"/>
                <a:gd name="connsiteY1" fmla="*/ 33258 h 1093750"/>
                <a:gd name="connsiteX2" fmla="*/ 456620 w 645701"/>
                <a:gd name="connsiteY2" fmla="*/ 166511 h 1093750"/>
                <a:gd name="connsiteX3" fmla="*/ 295603 w 645701"/>
                <a:gd name="connsiteY3" fmla="*/ 105438 h 1093750"/>
                <a:gd name="connsiteX4" fmla="*/ 264143 w 645701"/>
                <a:gd name="connsiteY4" fmla="*/ 99883 h 1093750"/>
                <a:gd name="connsiteX5" fmla="*/ 171604 w 645701"/>
                <a:gd name="connsiteY5" fmla="*/ 96185 h 1093750"/>
                <a:gd name="connsiteX6" fmla="*/ 73510 w 645701"/>
                <a:gd name="connsiteY6" fmla="*/ 166517 h 1093750"/>
                <a:gd name="connsiteX7" fmla="*/ 3177 w 645701"/>
                <a:gd name="connsiteY7" fmla="*/ 473746 h 1093750"/>
                <a:gd name="connsiteX8" fmla="*/ 34637 w 645701"/>
                <a:gd name="connsiteY8" fmla="*/ 582943 h 1093750"/>
                <a:gd name="connsiteX9" fmla="*/ 236372 w 645701"/>
                <a:gd name="connsiteY9" fmla="*/ 784678 h 1093750"/>
                <a:gd name="connsiteX10" fmla="*/ 240070 w 645701"/>
                <a:gd name="connsiteY10" fmla="*/ 790233 h 1093750"/>
                <a:gd name="connsiteX11" fmla="*/ 327053 w 645701"/>
                <a:gd name="connsiteY11" fmla="*/ 1045646 h 1093750"/>
                <a:gd name="connsiteX12" fmla="*/ 395529 w 645701"/>
                <a:gd name="connsiteY12" fmla="*/ 1093751 h 1093750"/>
                <a:gd name="connsiteX13" fmla="*/ 419592 w 645701"/>
                <a:gd name="connsiteY13" fmla="*/ 1090065 h 1093750"/>
                <a:gd name="connsiteX14" fmla="*/ 464012 w 645701"/>
                <a:gd name="connsiteY14" fmla="*/ 997526 h 1093750"/>
                <a:gd name="connsiteX15" fmla="*/ 377034 w 645701"/>
                <a:gd name="connsiteY15" fmla="*/ 745799 h 1093750"/>
                <a:gd name="connsiteX16" fmla="*/ 338169 w 645701"/>
                <a:gd name="connsiteY16" fmla="*/ 684720 h 1093750"/>
                <a:gd name="connsiteX17" fmla="*/ 225273 w 645701"/>
                <a:gd name="connsiteY17" fmla="*/ 571825 h 1093750"/>
                <a:gd name="connsiteX18" fmla="*/ 327066 w 645701"/>
                <a:gd name="connsiteY18" fmla="*/ 253491 h 1093750"/>
                <a:gd name="connsiteX19" fmla="*/ 439961 w 645701"/>
                <a:gd name="connsiteY19" fmla="*/ 296062 h 1093750"/>
                <a:gd name="connsiteX20" fmla="*/ 554706 w 645701"/>
                <a:gd name="connsiteY20" fmla="*/ 251642 h 1093750"/>
                <a:gd name="connsiteX21" fmla="*/ 637991 w 645701"/>
                <a:gd name="connsiteY21" fmla="*/ 92475 h 1093750"/>
                <a:gd name="connsiteX22" fmla="*/ 612079 w 645701"/>
                <a:gd name="connsiteY22" fmla="*/ 7335 h 109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45701" h="1093750">
                  <a:moveTo>
                    <a:pt x="612087" y="7346"/>
                  </a:moveTo>
                  <a:cubicBezTo>
                    <a:pt x="580627" y="-9313"/>
                    <a:pt x="543611" y="3647"/>
                    <a:pt x="526953" y="33258"/>
                  </a:cubicBezTo>
                  <a:lnTo>
                    <a:pt x="456620" y="166511"/>
                  </a:lnTo>
                  <a:lnTo>
                    <a:pt x="295603" y="105438"/>
                  </a:lnTo>
                  <a:cubicBezTo>
                    <a:pt x="286349" y="101740"/>
                    <a:pt x="275246" y="99883"/>
                    <a:pt x="264143" y="99883"/>
                  </a:cubicBezTo>
                  <a:lnTo>
                    <a:pt x="171604" y="96185"/>
                  </a:lnTo>
                  <a:cubicBezTo>
                    <a:pt x="141993" y="94335"/>
                    <a:pt x="84620" y="109137"/>
                    <a:pt x="73510" y="166517"/>
                  </a:cubicBezTo>
                  <a:cubicBezTo>
                    <a:pt x="64256" y="212787"/>
                    <a:pt x="3177" y="473746"/>
                    <a:pt x="3177" y="473746"/>
                  </a:cubicBezTo>
                  <a:cubicBezTo>
                    <a:pt x="-6077" y="512611"/>
                    <a:pt x="5026" y="553332"/>
                    <a:pt x="34637" y="582943"/>
                  </a:cubicBezTo>
                  <a:lnTo>
                    <a:pt x="236372" y="784678"/>
                  </a:lnTo>
                  <a:cubicBezTo>
                    <a:pt x="238221" y="786527"/>
                    <a:pt x="240070" y="788376"/>
                    <a:pt x="240070" y="790233"/>
                  </a:cubicBezTo>
                  <a:lnTo>
                    <a:pt x="327053" y="1045646"/>
                  </a:lnTo>
                  <a:cubicBezTo>
                    <a:pt x="338158" y="1075243"/>
                    <a:pt x="365918" y="1093751"/>
                    <a:pt x="395529" y="1093751"/>
                  </a:cubicBezTo>
                  <a:cubicBezTo>
                    <a:pt x="402934" y="1093751"/>
                    <a:pt x="412188" y="1091915"/>
                    <a:pt x="419592" y="1090065"/>
                  </a:cubicBezTo>
                  <a:cubicBezTo>
                    <a:pt x="456608" y="1077109"/>
                    <a:pt x="476965" y="1036392"/>
                    <a:pt x="464012" y="997526"/>
                  </a:cubicBezTo>
                  <a:lnTo>
                    <a:pt x="377034" y="745799"/>
                  </a:lnTo>
                  <a:cubicBezTo>
                    <a:pt x="369631" y="723593"/>
                    <a:pt x="354827" y="701379"/>
                    <a:pt x="338169" y="684720"/>
                  </a:cubicBezTo>
                  <a:lnTo>
                    <a:pt x="225273" y="571825"/>
                  </a:lnTo>
                  <a:lnTo>
                    <a:pt x="327066" y="253491"/>
                  </a:lnTo>
                  <a:lnTo>
                    <a:pt x="439961" y="296062"/>
                  </a:lnTo>
                  <a:cubicBezTo>
                    <a:pt x="484382" y="312721"/>
                    <a:pt x="534350" y="294213"/>
                    <a:pt x="554706" y="251642"/>
                  </a:cubicBezTo>
                  <a:lnTo>
                    <a:pt x="637991" y="92475"/>
                  </a:lnTo>
                  <a:cubicBezTo>
                    <a:pt x="654650" y="61009"/>
                    <a:pt x="643547" y="23994"/>
                    <a:pt x="612079" y="7335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8" name="Freeform: Shape 2188">
              <a:extLst>
                <a:ext uri="{FF2B5EF4-FFF2-40B4-BE49-F238E27FC236}">
                  <a16:creationId xmlns:a16="http://schemas.microsoft.com/office/drawing/2014/main" id="{5BB2FDD6-692E-1508-3BED-9051D1125634}"/>
                </a:ext>
              </a:extLst>
            </p:cNvPr>
            <p:cNvSpPr/>
            <p:nvPr/>
          </p:nvSpPr>
          <p:spPr>
            <a:xfrm>
              <a:off x="2880266" y="180458"/>
              <a:ext cx="281345" cy="281338"/>
            </a:xfrm>
            <a:custGeom>
              <a:avLst/>
              <a:gdLst>
                <a:gd name="connsiteX0" fmla="*/ 155921 w 281345"/>
                <a:gd name="connsiteY0" fmla="*/ 835 h 281338"/>
                <a:gd name="connsiteX1" fmla="*/ 280504 w 281345"/>
                <a:gd name="connsiteY1" fmla="*/ 155915 h 281338"/>
                <a:gd name="connsiteX2" fmla="*/ 125425 w 281345"/>
                <a:gd name="connsiteY2" fmla="*/ 280498 h 281338"/>
                <a:gd name="connsiteX3" fmla="*/ 841 w 281345"/>
                <a:gd name="connsiteY3" fmla="*/ 125418 h 281338"/>
                <a:gd name="connsiteX4" fmla="*/ 155921 w 281345"/>
                <a:gd name="connsiteY4" fmla="*/ 841 h 28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45" h="281338">
                  <a:moveTo>
                    <a:pt x="155921" y="835"/>
                  </a:moveTo>
                  <a:cubicBezTo>
                    <a:pt x="233151" y="9251"/>
                    <a:pt x="288927" y="78686"/>
                    <a:pt x="280504" y="155915"/>
                  </a:cubicBezTo>
                  <a:cubicBezTo>
                    <a:pt x="272082" y="233138"/>
                    <a:pt x="202653" y="288914"/>
                    <a:pt x="125425" y="280498"/>
                  </a:cubicBezTo>
                  <a:cubicBezTo>
                    <a:pt x="48195" y="272075"/>
                    <a:pt x="-7581" y="202647"/>
                    <a:pt x="841" y="125418"/>
                  </a:cubicBezTo>
                  <a:cubicBezTo>
                    <a:pt x="9264" y="48195"/>
                    <a:pt x="78693" y="-7581"/>
                    <a:pt x="155921" y="841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9" name="Freeform: Shape 2189">
              <a:extLst>
                <a:ext uri="{FF2B5EF4-FFF2-40B4-BE49-F238E27FC236}">
                  <a16:creationId xmlns:a16="http://schemas.microsoft.com/office/drawing/2014/main" id="{163BF179-160A-BC0B-E902-DA6090717FE2}"/>
                </a:ext>
              </a:extLst>
            </p:cNvPr>
            <p:cNvSpPr/>
            <p:nvPr/>
          </p:nvSpPr>
          <p:spPr>
            <a:xfrm>
              <a:off x="2695220" y="1072580"/>
              <a:ext cx="236212" cy="423827"/>
            </a:xfrm>
            <a:custGeom>
              <a:avLst/>
              <a:gdLst>
                <a:gd name="connsiteX0" fmla="*/ 4865 w 236212"/>
                <a:gd name="connsiteY0" fmla="*/ 327587 h 423827"/>
                <a:gd name="connsiteX1" fmla="*/ 47436 w 236212"/>
                <a:gd name="connsiteY1" fmla="*/ 420126 h 423827"/>
                <a:gd name="connsiteX2" fmla="*/ 71499 w 236212"/>
                <a:gd name="connsiteY2" fmla="*/ 423828 h 423827"/>
                <a:gd name="connsiteX3" fmla="*/ 139975 w 236212"/>
                <a:gd name="connsiteY3" fmla="*/ 375707 h 423827"/>
                <a:gd name="connsiteX4" fmla="*/ 236212 w 236212"/>
                <a:gd name="connsiteY4" fmla="*/ 112896 h 423827"/>
                <a:gd name="connsiteX5" fmla="*/ 123317 w 236212"/>
                <a:gd name="connsiteY5" fmla="*/ 0 h 423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212" h="423827">
                  <a:moveTo>
                    <a:pt x="4865" y="327587"/>
                  </a:moveTo>
                  <a:cubicBezTo>
                    <a:pt x="-9944" y="364603"/>
                    <a:pt x="10421" y="407171"/>
                    <a:pt x="47436" y="420126"/>
                  </a:cubicBezTo>
                  <a:cubicBezTo>
                    <a:pt x="54841" y="423828"/>
                    <a:pt x="64095" y="423828"/>
                    <a:pt x="71499" y="423828"/>
                  </a:cubicBezTo>
                  <a:cubicBezTo>
                    <a:pt x="101110" y="423828"/>
                    <a:pt x="128872" y="405320"/>
                    <a:pt x="139975" y="375707"/>
                  </a:cubicBezTo>
                  <a:lnTo>
                    <a:pt x="236212" y="112896"/>
                  </a:lnTo>
                  <a:lnTo>
                    <a:pt x="123317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sp>
        <p:nvSpPr>
          <p:cNvPr id="10" name="Freeform: Shape 2190">
            <a:extLst>
              <a:ext uri="{FF2B5EF4-FFF2-40B4-BE49-F238E27FC236}">
                <a16:creationId xmlns:a16="http://schemas.microsoft.com/office/drawing/2014/main" id="{9CE3D2B5-2A61-C840-2A5B-C987E9787206}"/>
              </a:ext>
            </a:extLst>
          </p:cNvPr>
          <p:cNvSpPr/>
          <p:nvPr/>
        </p:nvSpPr>
        <p:spPr>
          <a:xfrm>
            <a:off x="3273136" y="436361"/>
            <a:ext cx="262276" cy="249292"/>
          </a:xfrm>
          <a:custGeom>
            <a:avLst/>
            <a:gdLst>
              <a:gd name="connsiteX0" fmla="*/ 266512 w 529339"/>
              <a:gd name="connsiteY0" fmla="*/ 0 h 503134"/>
              <a:gd name="connsiteX1" fmla="*/ 0 w 529339"/>
              <a:gd name="connsiteY1" fmla="*/ 223944 h 503134"/>
              <a:gd name="connsiteX2" fmla="*/ 81436 w 529339"/>
              <a:gd name="connsiteY2" fmla="*/ 384961 h 503134"/>
              <a:gd name="connsiteX3" fmla="*/ 44420 w 529339"/>
              <a:gd name="connsiteY3" fmla="*/ 473801 h 503134"/>
              <a:gd name="connsiteX4" fmla="*/ 66626 w 529339"/>
              <a:gd name="connsiteY4" fmla="*/ 501563 h 503134"/>
              <a:gd name="connsiteX5" fmla="*/ 199879 w 529339"/>
              <a:gd name="connsiteY5" fmla="*/ 438635 h 503134"/>
              <a:gd name="connsiteX6" fmla="*/ 262807 w 529339"/>
              <a:gd name="connsiteY6" fmla="*/ 446040 h 503134"/>
              <a:gd name="connsiteX7" fmla="*/ 529319 w 529339"/>
              <a:gd name="connsiteY7" fmla="*/ 222096 h 503134"/>
              <a:gd name="connsiteX8" fmla="*/ 266508 w 529339"/>
              <a:gd name="connsiteY8" fmla="*/ 3 h 503134"/>
              <a:gd name="connsiteX9" fmla="*/ 122148 w 529339"/>
              <a:gd name="connsiteY9" fmla="*/ 268362 h 503134"/>
              <a:gd name="connsiteX10" fmla="*/ 77728 w 529339"/>
              <a:gd name="connsiteY10" fmla="*/ 223942 h 503134"/>
              <a:gd name="connsiteX11" fmla="*/ 122148 w 529339"/>
              <a:gd name="connsiteY11" fmla="*/ 179522 h 503134"/>
              <a:gd name="connsiteX12" fmla="*/ 166568 w 529339"/>
              <a:gd name="connsiteY12" fmla="*/ 223942 h 503134"/>
              <a:gd name="connsiteX13" fmla="*/ 122148 w 529339"/>
              <a:gd name="connsiteY13" fmla="*/ 268362 h 503134"/>
              <a:gd name="connsiteX14" fmla="*/ 266512 w 529339"/>
              <a:gd name="connsiteY14" fmla="*/ 268362 h 503134"/>
              <a:gd name="connsiteX15" fmla="*/ 222092 w 529339"/>
              <a:gd name="connsiteY15" fmla="*/ 223942 h 503134"/>
              <a:gd name="connsiteX16" fmla="*/ 266512 w 529339"/>
              <a:gd name="connsiteY16" fmla="*/ 179522 h 503134"/>
              <a:gd name="connsiteX17" fmla="*/ 310932 w 529339"/>
              <a:gd name="connsiteY17" fmla="*/ 223942 h 503134"/>
              <a:gd name="connsiteX18" fmla="*/ 266512 w 529339"/>
              <a:gd name="connsiteY18" fmla="*/ 268362 h 503134"/>
              <a:gd name="connsiteX19" fmla="*/ 409018 w 529339"/>
              <a:gd name="connsiteY19" fmla="*/ 268362 h 503134"/>
              <a:gd name="connsiteX20" fmla="*/ 364598 w 529339"/>
              <a:gd name="connsiteY20" fmla="*/ 223942 h 503134"/>
              <a:gd name="connsiteX21" fmla="*/ 409018 w 529339"/>
              <a:gd name="connsiteY21" fmla="*/ 179522 h 503134"/>
              <a:gd name="connsiteX22" fmla="*/ 453438 w 529339"/>
              <a:gd name="connsiteY22" fmla="*/ 223942 h 503134"/>
              <a:gd name="connsiteX23" fmla="*/ 409018 w 529339"/>
              <a:gd name="connsiteY23" fmla="*/ 268362 h 50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29339" h="503134">
                <a:moveTo>
                  <a:pt x="266512" y="0"/>
                </a:moveTo>
                <a:cubicBezTo>
                  <a:pt x="120299" y="0"/>
                  <a:pt x="0" y="99943"/>
                  <a:pt x="0" y="223944"/>
                </a:cubicBezTo>
                <a:cubicBezTo>
                  <a:pt x="0" y="286872"/>
                  <a:pt x="31460" y="344244"/>
                  <a:pt x="81436" y="384961"/>
                </a:cubicBezTo>
                <a:cubicBezTo>
                  <a:pt x="77737" y="412723"/>
                  <a:pt x="61079" y="447889"/>
                  <a:pt x="44420" y="473801"/>
                </a:cubicBezTo>
                <a:cubicBezTo>
                  <a:pt x="35166" y="488611"/>
                  <a:pt x="49976" y="508968"/>
                  <a:pt x="66626" y="501563"/>
                </a:cubicBezTo>
                <a:cubicBezTo>
                  <a:pt x="111047" y="486754"/>
                  <a:pt x="172117" y="462698"/>
                  <a:pt x="199879" y="438635"/>
                </a:cubicBezTo>
                <a:cubicBezTo>
                  <a:pt x="220236" y="442334"/>
                  <a:pt x="240593" y="446040"/>
                  <a:pt x="262807" y="446040"/>
                </a:cubicBezTo>
                <a:cubicBezTo>
                  <a:pt x="409020" y="446040"/>
                  <a:pt x="529319" y="346096"/>
                  <a:pt x="529319" y="222096"/>
                </a:cubicBezTo>
                <a:cubicBezTo>
                  <a:pt x="531168" y="99946"/>
                  <a:pt x="412723" y="3"/>
                  <a:pt x="266508" y="3"/>
                </a:cubicBezTo>
                <a:close/>
                <a:moveTo>
                  <a:pt x="122148" y="268362"/>
                </a:moveTo>
                <a:cubicBezTo>
                  <a:pt x="98085" y="268362"/>
                  <a:pt x="77728" y="248005"/>
                  <a:pt x="77728" y="223942"/>
                </a:cubicBezTo>
                <a:cubicBezTo>
                  <a:pt x="77728" y="199879"/>
                  <a:pt x="98085" y="179522"/>
                  <a:pt x="122148" y="179522"/>
                </a:cubicBezTo>
                <a:cubicBezTo>
                  <a:pt x="146211" y="179522"/>
                  <a:pt x="166568" y="199879"/>
                  <a:pt x="166568" y="223942"/>
                </a:cubicBezTo>
                <a:cubicBezTo>
                  <a:pt x="168417" y="248005"/>
                  <a:pt x="148061" y="268362"/>
                  <a:pt x="122148" y="268362"/>
                </a:cubicBezTo>
                <a:close/>
                <a:moveTo>
                  <a:pt x="266512" y="268362"/>
                </a:moveTo>
                <a:cubicBezTo>
                  <a:pt x="242448" y="268362"/>
                  <a:pt x="222092" y="248005"/>
                  <a:pt x="222092" y="223942"/>
                </a:cubicBezTo>
                <a:cubicBezTo>
                  <a:pt x="222092" y="199879"/>
                  <a:pt x="242448" y="179522"/>
                  <a:pt x="266512" y="179522"/>
                </a:cubicBezTo>
                <a:cubicBezTo>
                  <a:pt x="290575" y="179522"/>
                  <a:pt x="310932" y="199879"/>
                  <a:pt x="310932" y="223942"/>
                </a:cubicBezTo>
                <a:cubicBezTo>
                  <a:pt x="310932" y="248005"/>
                  <a:pt x="290569" y="268362"/>
                  <a:pt x="266512" y="268362"/>
                </a:cubicBezTo>
                <a:close/>
                <a:moveTo>
                  <a:pt x="409018" y="268362"/>
                </a:moveTo>
                <a:cubicBezTo>
                  <a:pt x="384955" y="268362"/>
                  <a:pt x="364598" y="248005"/>
                  <a:pt x="364598" y="223942"/>
                </a:cubicBezTo>
                <a:cubicBezTo>
                  <a:pt x="364598" y="199879"/>
                  <a:pt x="384955" y="179522"/>
                  <a:pt x="409018" y="179522"/>
                </a:cubicBezTo>
                <a:cubicBezTo>
                  <a:pt x="433081" y="179522"/>
                  <a:pt x="453438" y="199879"/>
                  <a:pt x="453438" y="223942"/>
                </a:cubicBezTo>
                <a:cubicBezTo>
                  <a:pt x="453438" y="248005"/>
                  <a:pt x="433081" y="268362"/>
                  <a:pt x="409018" y="268362"/>
                </a:cubicBezTo>
                <a:close/>
              </a:path>
            </a:pathLst>
          </a:custGeom>
          <a:solidFill>
            <a:schemeClr val="accent2"/>
          </a:solidFill>
          <a:ln w="213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3697DAF2-811C-D251-4270-5E12A87884D5}"/>
              </a:ext>
            </a:extLst>
          </p:cNvPr>
          <p:cNvSpPr txBox="1">
            <a:spLocks/>
          </p:cNvSpPr>
          <p:nvPr/>
        </p:nvSpPr>
        <p:spPr>
          <a:xfrm>
            <a:off x="-14716" y="-6827"/>
            <a:ext cx="12224697" cy="407276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2000" b="1" dirty="0">
                <a:solidFill>
                  <a:schemeClr val="bg1"/>
                </a:solidFill>
              </a:rPr>
              <a:t>De weg naar herstel</a:t>
            </a:r>
          </a:p>
        </p:txBody>
      </p:sp>
      <p:sp>
        <p:nvSpPr>
          <p:cNvPr id="2" name="TextBox 2223">
            <a:extLst>
              <a:ext uri="{FF2B5EF4-FFF2-40B4-BE49-F238E27FC236}">
                <a16:creationId xmlns:a16="http://schemas.microsoft.com/office/drawing/2014/main" id="{19D8CFD4-A44D-8C76-EB66-8A7901B1CB7B}"/>
              </a:ext>
            </a:extLst>
          </p:cNvPr>
          <p:cNvSpPr txBox="1"/>
          <p:nvPr/>
        </p:nvSpPr>
        <p:spPr>
          <a:xfrm>
            <a:off x="8775534" y="4317929"/>
            <a:ext cx="11021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400" b="1" dirty="0">
                <a:solidFill>
                  <a:schemeClr val="accent2"/>
                </a:solidFill>
              </a:rPr>
              <a:t>Spoor 2</a:t>
            </a:r>
          </a:p>
          <a:p>
            <a:pPr algn="ctr"/>
            <a:r>
              <a:rPr lang="nl-NL" sz="1400" b="1" dirty="0">
                <a:solidFill>
                  <a:schemeClr val="accent2"/>
                </a:solidFill>
              </a:rPr>
              <a:t>na 1 jaar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13" name="TextBox 2219">
            <a:extLst>
              <a:ext uri="{FF2B5EF4-FFF2-40B4-BE49-F238E27FC236}">
                <a16:creationId xmlns:a16="http://schemas.microsoft.com/office/drawing/2014/main" id="{7662FEAF-2504-D886-084B-D1DC099608F3}"/>
              </a:ext>
            </a:extLst>
          </p:cNvPr>
          <p:cNvSpPr txBox="1"/>
          <p:nvPr/>
        </p:nvSpPr>
        <p:spPr>
          <a:xfrm>
            <a:off x="7513230" y="3887185"/>
            <a:ext cx="99022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Mijn salaris wordt gekort</a:t>
            </a:r>
          </a:p>
        </p:txBody>
      </p:sp>
      <p:sp>
        <p:nvSpPr>
          <p:cNvPr id="14" name="Freeform 754">
            <a:extLst>
              <a:ext uri="{FF2B5EF4-FFF2-40B4-BE49-F238E27FC236}">
                <a16:creationId xmlns:a16="http://schemas.microsoft.com/office/drawing/2014/main" id="{3098C9D1-7D26-851C-3369-2C26A0376BAD}"/>
              </a:ext>
            </a:extLst>
          </p:cNvPr>
          <p:cNvSpPr/>
          <p:nvPr/>
        </p:nvSpPr>
        <p:spPr>
          <a:xfrm rot="18139270" flipH="1">
            <a:off x="8273163" y="4084845"/>
            <a:ext cx="45719" cy="51598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9" name="TextBox 2214">
            <a:extLst>
              <a:ext uri="{FF2B5EF4-FFF2-40B4-BE49-F238E27FC236}">
                <a16:creationId xmlns:a16="http://schemas.microsoft.com/office/drawing/2014/main" id="{E8C2AA3F-9D4B-4631-DC3A-683EB792EADA}"/>
              </a:ext>
            </a:extLst>
          </p:cNvPr>
          <p:cNvSpPr txBox="1"/>
          <p:nvPr/>
        </p:nvSpPr>
        <p:spPr>
          <a:xfrm>
            <a:off x="5114249" y="6211263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word begeleid door de casemanager</a:t>
            </a:r>
          </a:p>
        </p:txBody>
      </p:sp>
      <p:sp>
        <p:nvSpPr>
          <p:cNvPr id="23" name="TextBox 2216">
            <a:extLst>
              <a:ext uri="{FF2B5EF4-FFF2-40B4-BE49-F238E27FC236}">
                <a16:creationId xmlns:a16="http://schemas.microsoft.com/office/drawing/2014/main" id="{ECD2A727-5BF9-7423-2223-B07057479A1E}"/>
              </a:ext>
            </a:extLst>
          </p:cNvPr>
          <p:cNvSpPr txBox="1"/>
          <p:nvPr/>
        </p:nvSpPr>
        <p:spPr>
          <a:xfrm>
            <a:off x="6801748" y="6132119"/>
            <a:ext cx="13652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heb contact met mijn teamleden</a:t>
            </a:r>
          </a:p>
        </p:txBody>
      </p:sp>
    </p:spTree>
    <p:extLst>
      <p:ext uri="{BB962C8B-B14F-4D97-AF65-F5344CB8AC3E}">
        <p14:creationId xmlns:p14="http://schemas.microsoft.com/office/powerpoint/2010/main" val="24174782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kstvak 8">
            <a:extLst>
              <a:ext uri="{FF2B5EF4-FFF2-40B4-BE49-F238E27FC236}">
                <a16:creationId xmlns:a16="http://schemas.microsoft.com/office/drawing/2014/main" id="{BE8023B0-1393-83B3-5F0A-8E4D281C9E68}"/>
              </a:ext>
            </a:extLst>
          </p:cNvPr>
          <p:cNvSpPr txBox="1"/>
          <p:nvPr/>
        </p:nvSpPr>
        <p:spPr>
          <a:xfrm>
            <a:off x="1119776" y="1596808"/>
            <a:ext cx="5536145" cy="45704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/>
              <a:t>Verwijder de stappen die niet van toepassing zijn binnen jullie organisatie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/>
              <a:t>Voeg organisatie specifieke stappen toe en zet de presentatie om naar jullie eigen huisstijl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/>
              <a:t>Bepaal de aandachtspunten voor leidinggevenden en voeg deze toe (voorbeeld op volgende pagina)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>
                <a:ea typeface="Calibri Light" panose="020F0302020204030204" pitchFamily="34" charset="0"/>
                <a:cs typeface="Calibri Light" panose="020F0302020204030204" pitchFamily="34" charset="0"/>
              </a:rPr>
              <a:t>Neem de leidinggevenden eerst mee door de stappen en dan door de aandachtspunten</a:t>
            </a:r>
          </a:p>
          <a:p>
            <a:pPr marL="342900" indent="-342900">
              <a:spcBef>
                <a:spcPts val="1800"/>
              </a:spcBef>
              <a:buFont typeface="Arial" panose="020B0604020202020204" pitchFamily="34" charset="0"/>
              <a:buChar char="•"/>
            </a:pPr>
            <a:r>
              <a:rPr lang="nl-NL" dirty="0">
                <a:ea typeface="Calibri Light" panose="020F0302020204030204" pitchFamily="34" charset="0"/>
                <a:cs typeface="Calibri Light" panose="020F0302020204030204" pitchFamily="34" charset="0"/>
              </a:rPr>
              <a:t>Ga in gesprek met de leidinggevenden over hun ervaringen en wat zij nodig hebben om preventie en herstelbegeleiding verder te verbeteren</a:t>
            </a:r>
          </a:p>
          <a:p>
            <a:pPr>
              <a:spcBef>
                <a:spcPts val="1800"/>
              </a:spcBef>
            </a:pPr>
            <a:endParaRPr lang="nl-NL" i="1" dirty="0">
              <a:solidFill>
                <a:schemeClr val="tx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0BE51F-22F4-DE1A-6789-7598EAF07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ijf stappen om in gesprek te gaan met leidinggevenden over preventie en herstelbegeleiding</a:t>
            </a:r>
          </a:p>
        </p:txBody>
      </p:sp>
      <p:sp>
        <p:nvSpPr>
          <p:cNvPr id="6" name="Ovaal 5">
            <a:extLst>
              <a:ext uri="{FF2B5EF4-FFF2-40B4-BE49-F238E27FC236}">
                <a16:creationId xmlns:a16="http://schemas.microsoft.com/office/drawing/2014/main" id="{E526B95B-BDB1-8567-E85A-4B57E8472DA2}"/>
              </a:ext>
            </a:extLst>
          </p:cNvPr>
          <p:cNvSpPr/>
          <p:nvPr/>
        </p:nvSpPr>
        <p:spPr>
          <a:xfrm>
            <a:off x="998492" y="1648590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1</a:t>
            </a:r>
          </a:p>
        </p:txBody>
      </p:sp>
      <p:sp>
        <p:nvSpPr>
          <p:cNvPr id="7" name="Ovaal 6">
            <a:extLst>
              <a:ext uri="{FF2B5EF4-FFF2-40B4-BE49-F238E27FC236}">
                <a16:creationId xmlns:a16="http://schemas.microsoft.com/office/drawing/2014/main" id="{2C9B020E-1998-06BE-BF0B-9B4652D3921A}"/>
              </a:ext>
            </a:extLst>
          </p:cNvPr>
          <p:cNvSpPr/>
          <p:nvPr/>
        </p:nvSpPr>
        <p:spPr>
          <a:xfrm>
            <a:off x="998492" y="2421503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2</a:t>
            </a:r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4C16C931-E3A1-5F9C-8C50-E53C80C4DCFE}"/>
              </a:ext>
            </a:extLst>
          </p:cNvPr>
          <p:cNvSpPr/>
          <p:nvPr/>
        </p:nvSpPr>
        <p:spPr>
          <a:xfrm>
            <a:off x="998492" y="3194416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3</a:t>
            </a:r>
          </a:p>
        </p:txBody>
      </p:sp>
      <p:sp>
        <p:nvSpPr>
          <p:cNvPr id="12" name="Ovaal 11">
            <a:extLst>
              <a:ext uri="{FF2B5EF4-FFF2-40B4-BE49-F238E27FC236}">
                <a16:creationId xmlns:a16="http://schemas.microsoft.com/office/drawing/2014/main" id="{7594EE00-DEE2-B43B-E51D-27137EE30B47}"/>
              </a:ext>
            </a:extLst>
          </p:cNvPr>
          <p:cNvSpPr/>
          <p:nvPr/>
        </p:nvSpPr>
        <p:spPr>
          <a:xfrm>
            <a:off x="998492" y="3926714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4</a:t>
            </a:r>
          </a:p>
        </p:txBody>
      </p:sp>
      <p:sp>
        <p:nvSpPr>
          <p:cNvPr id="13" name="Ovaal 12">
            <a:extLst>
              <a:ext uri="{FF2B5EF4-FFF2-40B4-BE49-F238E27FC236}">
                <a16:creationId xmlns:a16="http://schemas.microsoft.com/office/drawing/2014/main" id="{915EFD31-ECD4-57C5-F19D-0B7A29B7A43B}"/>
              </a:ext>
            </a:extLst>
          </p:cNvPr>
          <p:cNvSpPr/>
          <p:nvPr/>
        </p:nvSpPr>
        <p:spPr>
          <a:xfrm>
            <a:off x="998492" y="4705410"/>
            <a:ext cx="396000" cy="39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5</a:t>
            </a:r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88765487-D72D-90DF-58B5-51BB43218127}"/>
              </a:ext>
            </a:extLst>
          </p:cNvPr>
          <p:cNvGrpSpPr/>
          <p:nvPr/>
        </p:nvGrpSpPr>
        <p:grpSpPr>
          <a:xfrm>
            <a:off x="7115896" y="1672402"/>
            <a:ext cx="4237904" cy="4307422"/>
            <a:chOff x="7115896" y="1672402"/>
            <a:chExt cx="4237904" cy="430742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Tekstvak 13">
              <a:extLst>
                <a:ext uri="{FF2B5EF4-FFF2-40B4-BE49-F238E27FC236}">
                  <a16:creationId xmlns:a16="http://schemas.microsoft.com/office/drawing/2014/main" id="{A596ECDC-0D92-C0ED-0D70-F1121DFD88EE}"/>
                </a:ext>
              </a:extLst>
            </p:cNvPr>
            <p:cNvSpPr txBox="1"/>
            <p:nvPr/>
          </p:nvSpPr>
          <p:spPr>
            <a:xfrm>
              <a:off x="7115901" y="4056220"/>
              <a:ext cx="4237899" cy="1923604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lIns="36000" rIns="36000" rtlCol="0">
              <a:spAutoFit/>
            </a:bodyPr>
            <a:lstStyle/>
            <a:p>
              <a:pPr algn="ctr"/>
              <a:r>
                <a:rPr lang="nl-NL" sz="1400" b="1" dirty="0">
                  <a:solidFill>
                    <a:schemeClr val="tx2"/>
                  </a:solidFill>
                </a:rPr>
                <a:t>Verzuimbeleving en verbeteringen in kaart brengen? </a:t>
              </a:r>
              <a:br>
                <a:rPr lang="nl-NL" sz="1400" b="1" dirty="0">
                  <a:solidFill>
                    <a:schemeClr val="tx2"/>
                  </a:solidFill>
                </a:rPr>
              </a:br>
              <a:r>
                <a:rPr lang="nl-NL" sz="1400" dirty="0"/>
                <a:t>Wij helpen jullie graag!</a:t>
              </a:r>
            </a:p>
            <a:p>
              <a:pPr algn="ctr"/>
              <a:endParaRPr lang="nl-NL" sz="1050" dirty="0"/>
            </a:p>
            <a:p>
              <a:pPr algn="ctr"/>
              <a:r>
                <a:rPr lang="nl-NL" sz="1400" dirty="0"/>
                <a:t>De inzichten vanuit interviews met medewerkers en leidinggevenden zijn volgens onze klanten </a:t>
              </a:r>
              <a:br>
                <a:rPr lang="nl-NL" sz="1400" dirty="0">
                  <a:solidFill>
                    <a:schemeClr val="accent1"/>
                  </a:solidFill>
                </a:rPr>
              </a:br>
              <a:r>
                <a:rPr lang="nl-NL" sz="1400" dirty="0">
                  <a:solidFill>
                    <a:schemeClr val="accent1"/>
                  </a:solidFill>
                </a:rPr>
                <a:t>“</a:t>
              </a:r>
              <a:r>
                <a:rPr lang="nl-NL" sz="1400" b="1" i="1" dirty="0">
                  <a:solidFill>
                    <a:schemeClr val="tx2"/>
                  </a:solidFill>
                </a:rPr>
                <a:t>heel waardevol om zo verder dan verzuimcijfers te kijken en concrete verbeteringen te identificeren”</a:t>
              </a:r>
            </a:p>
            <a:p>
              <a:pPr algn="ctr"/>
              <a:endParaRPr lang="nl-NL" sz="1050" b="1" i="1" dirty="0">
                <a:solidFill>
                  <a:schemeClr val="tx2"/>
                </a:solidFill>
              </a:endParaRPr>
            </a:p>
            <a:p>
              <a:pPr algn="ctr"/>
              <a:r>
                <a:rPr lang="nl-NL" sz="1400" dirty="0"/>
                <a:t>Plan </a:t>
              </a:r>
              <a:r>
                <a:rPr lang="nl-NL" sz="1400" dirty="0">
                  <a:solidFill>
                    <a:schemeClr val="accent2"/>
                  </a:solidFill>
                  <a:hlinkClick r:id="rId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ier</a:t>
              </a:r>
              <a:r>
                <a:rPr lang="nl-NL" sz="1400" dirty="0"/>
                <a:t> een kennismaking</a:t>
              </a:r>
              <a:endParaRPr lang="nl-NL" sz="1400" dirty="0">
                <a:solidFill>
                  <a:schemeClr val="bg1"/>
                </a:solidFill>
              </a:endParaRPr>
            </a:p>
          </p:txBody>
        </p:sp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6D1DBD5C-1B04-8346-E2A9-ED6234684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15896" y="1672402"/>
              <a:ext cx="4237900" cy="238381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7936785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E1ED3F-CB14-4BBD-FAE1-8B1A1542B0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3" name="Freeform 60">
            <a:extLst>
              <a:ext uri="{FF2B5EF4-FFF2-40B4-BE49-F238E27FC236}">
                <a16:creationId xmlns:a16="http://schemas.microsoft.com/office/drawing/2014/main" id="{58B05709-66DF-9A72-F2CF-87117DF4C29F}"/>
              </a:ext>
            </a:extLst>
          </p:cNvPr>
          <p:cNvSpPr/>
          <p:nvPr/>
        </p:nvSpPr>
        <p:spPr>
          <a:xfrm rot="6536731" flipV="1">
            <a:off x="9406839" y="5169297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94" name="Freeform 59">
            <a:extLst>
              <a:ext uri="{FF2B5EF4-FFF2-40B4-BE49-F238E27FC236}">
                <a16:creationId xmlns:a16="http://schemas.microsoft.com/office/drawing/2014/main" id="{D6B99B88-953D-884C-7823-6C4F22593F02}"/>
              </a:ext>
            </a:extLst>
          </p:cNvPr>
          <p:cNvSpPr>
            <a:spLocks noChangeAspect="1"/>
          </p:cNvSpPr>
          <p:nvPr/>
        </p:nvSpPr>
        <p:spPr>
          <a:xfrm rot="1136731" flipH="1" flipV="1">
            <a:off x="9633663" y="5215380"/>
            <a:ext cx="738803" cy="713832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4" name="Freeform 9">
            <a:extLst>
              <a:ext uri="{FF2B5EF4-FFF2-40B4-BE49-F238E27FC236}">
                <a16:creationId xmlns:a16="http://schemas.microsoft.com/office/drawing/2014/main" id="{7891E351-0073-3179-35A1-F54D6893503C}"/>
              </a:ext>
            </a:extLst>
          </p:cNvPr>
          <p:cNvSpPr>
            <a:spLocks noChangeAspect="1"/>
          </p:cNvSpPr>
          <p:nvPr/>
        </p:nvSpPr>
        <p:spPr>
          <a:xfrm rot="5400000">
            <a:off x="7543627" y="1352054"/>
            <a:ext cx="2697870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75" name="Freeform 10">
            <a:extLst>
              <a:ext uri="{FF2B5EF4-FFF2-40B4-BE49-F238E27FC236}">
                <a16:creationId xmlns:a16="http://schemas.microsoft.com/office/drawing/2014/main" id="{71DA55E3-A246-FBC3-291C-6E88CBF553EE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1578713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6" name="Freeform 10">
            <a:extLst>
              <a:ext uri="{FF2B5EF4-FFF2-40B4-BE49-F238E27FC236}">
                <a16:creationId xmlns:a16="http://schemas.microsoft.com/office/drawing/2014/main" id="{95157A1B-E9BD-44CB-18EE-2D3FF4E35B6F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69655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77" name="Freeform 10">
            <a:extLst>
              <a:ext uri="{FF2B5EF4-FFF2-40B4-BE49-F238E27FC236}">
                <a16:creationId xmlns:a16="http://schemas.microsoft.com/office/drawing/2014/main" id="{30DC0B86-835B-F861-B91D-F3E614AAFA4E}"/>
              </a:ext>
            </a:extLst>
          </p:cNvPr>
          <p:cNvSpPr>
            <a:spLocks noChangeAspect="1"/>
          </p:cNvSpPr>
          <p:nvPr/>
        </p:nvSpPr>
        <p:spPr>
          <a:xfrm rot="5400000">
            <a:off x="8470505" y="240987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09" name="Freeform 60">
            <a:extLst>
              <a:ext uri="{FF2B5EF4-FFF2-40B4-BE49-F238E27FC236}">
                <a16:creationId xmlns:a16="http://schemas.microsoft.com/office/drawing/2014/main" id="{5490C3B5-7ECF-F695-0F61-6E36DF225476}"/>
              </a:ext>
            </a:extLst>
          </p:cNvPr>
          <p:cNvSpPr/>
          <p:nvPr/>
        </p:nvSpPr>
        <p:spPr>
          <a:xfrm flipV="1">
            <a:off x="2683451" y="4574046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61" name="Freeform 59">
            <a:extLst>
              <a:ext uri="{FF2B5EF4-FFF2-40B4-BE49-F238E27FC236}">
                <a16:creationId xmlns:a16="http://schemas.microsoft.com/office/drawing/2014/main" id="{E7502CAD-D987-2B60-3DC7-ABD54704D8B3}"/>
              </a:ext>
            </a:extLst>
          </p:cNvPr>
          <p:cNvSpPr>
            <a:spLocks noChangeAspect="1"/>
          </p:cNvSpPr>
          <p:nvPr/>
        </p:nvSpPr>
        <p:spPr>
          <a:xfrm rot="16200000" flipH="1" flipV="1">
            <a:off x="2675919" y="4575521"/>
            <a:ext cx="738803" cy="713832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1" name="Freeform 9">
            <a:extLst>
              <a:ext uri="{FF2B5EF4-FFF2-40B4-BE49-F238E27FC236}">
                <a16:creationId xmlns:a16="http://schemas.microsoft.com/office/drawing/2014/main" id="{655F72D7-D3CF-4292-21E9-8131418212FD}"/>
              </a:ext>
            </a:extLst>
          </p:cNvPr>
          <p:cNvSpPr>
            <a:spLocks noChangeAspect="1"/>
          </p:cNvSpPr>
          <p:nvPr/>
        </p:nvSpPr>
        <p:spPr>
          <a:xfrm rot="5400000">
            <a:off x="8782610" y="3006111"/>
            <a:ext cx="2426234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2" name="Freeform 10">
            <a:extLst>
              <a:ext uri="{FF2B5EF4-FFF2-40B4-BE49-F238E27FC236}">
                <a16:creationId xmlns:a16="http://schemas.microsoft.com/office/drawing/2014/main" id="{95A4F03A-5DD5-F927-5306-37CC365694A3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3231450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53" name="Freeform 10">
            <a:extLst>
              <a:ext uri="{FF2B5EF4-FFF2-40B4-BE49-F238E27FC236}">
                <a16:creationId xmlns:a16="http://schemas.microsoft.com/office/drawing/2014/main" id="{1526C1B6-1BD2-4222-A0D1-4241BEE86D83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2438111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4" name="Freeform 10">
            <a:extLst>
              <a:ext uri="{FF2B5EF4-FFF2-40B4-BE49-F238E27FC236}">
                <a16:creationId xmlns:a16="http://schemas.microsoft.com/office/drawing/2014/main" id="{A80FD7D6-3382-3B94-B8CF-2EFF4B7309FF}"/>
              </a:ext>
            </a:extLst>
          </p:cNvPr>
          <p:cNvSpPr>
            <a:spLocks noChangeAspect="1"/>
          </p:cNvSpPr>
          <p:nvPr/>
        </p:nvSpPr>
        <p:spPr>
          <a:xfrm rot="5400000">
            <a:off x="9623504" y="3978923"/>
            <a:ext cx="754109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grpSp>
        <p:nvGrpSpPr>
          <p:cNvPr id="2238" name="Group 2237">
            <a:extLst>
              <a:ext uri="{FF2B5EF4-FFF2-40B4-BE49-F238E27FC236}">
                <a16:creationId xmlns:a16="http://schemas.microsoft.com/office/drawing/2014/main" id="{6FE96E70-2AA1-E719-7740-C86DA849BC44}"/>
              </a:ext>
            </a:extLst>
          </p:cNvPr>
          <p:cNvGrpSpPr/>
          <p:nvPr/>
        </p:nvGrpSpPr>
        <p:grpSpPr>
          <a:xfrm rot="11792010">
            <a:off x="8287368" y="4441770"/>
            <a:ext cx="929034" cy="928723"/>
            <a:chOff x="2606422" y="4004577"/>
            <a:chExt cx="929034" cy="928723"/>
          </a:xfrm>
          <a:solidFill>
            <a:schemeClr val="tx2"/>
          </a:solidFill>
        </p:grpSpPr>
        <p:sp>
          <p:nvSpPr>
            <p:cNvPr id="2239" name="Freeform 60">
              <a:extLst>
                <a:ext uri="{FF2B5EF4-FFF2-40B4-BE49-F238E27FC236}">
                  <a16:creationId xmlns:a16="http://schemas.microsoft.com/office/drawing/2014/main" id="{386919BB-3F55-9878-8A3F-875C1498AD42}"/>
                </a:ext>
              </a:extLst>
            </p:cNvPr>
            <p:cNvSpPr/>
            <p:nvPr/>
          </p:nvSpPr>
          <p:spPr>
            <a:xfrm rot="10800000" flipH="1" flipV="1">
              <a:off x="2606422" y="4004577"/>
              <a:ext cx="929034" cy="928723"/>
            </a:xfrm>
            <a:custGeom>
              <a:avLst/>
              <a:gdLst>
                <a:gd name="connsiteX0" fmla="*/ 0 w 495734"/>
                <a:gd name="connsiteY0" fmla="*/ 0 h 495568"/>
                <a:gd name="connsiteX1" fmla="*/ 0 w 495734"/>
                <a:gd name="connsiteY1" fmla="*/ 233999 h 495568"/>
                <a:gd name="connsiteX2" fmla="*/ 261656 w 495734"/>
                <a:gd name="connsiteY2" fmla="*/ 495568 h 495568"/>
                <a:gd name="connsiteX3" fmla="*/ 495734 w 495734"/>
                <a:gd name="connsiteY3" fmla="*/ 495568 h 495568"/>
                <a:gd name="connsiteX4" fmla="*/ 0 w 495734"/>
                <a:gd name="connsiteY4" fmla="*/ 0 h 495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734" h="495568">
                  <a:moveTo>
                    <a:pt x="0" y="0"/>
                  </a:moveTo>
                  <a:lnTo>
                    <a:pt x="0" y="233999"/>
                  </a:lnTo>
                  <a:cubicBezTo>
                    <a:pt x="144239" y="233999"/>
                    <a:pt x="261656" y="351309"/>
                    <a:pt x="261656" y="495568"/>
                  </a:cubicBezTo>
                  <a:lnTo>
                    <a:pt x="495734" y="495568"/>
                  </a:lnTo>
                  <a:cubicBezTo>
                    <a:pt x="495734" y="222351"/>
                    <a:pt x="273378" y="0"/>
                    <a:pt x="0" y="0"/>
                  </a:cubicBezTo>
                  <a:close/>
                </a:path>
              </a:pathLst>
            </a:custGeom>
            <a:grpFill/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2240" name="Freeform 59">
              <a:extLst>
                <a:ext uri="{FF2B5EF4-FFF2-40B4-BE49-F238E27FC236}">
                  <a16:creationId xmlns:a16="http://schemas.microsoft.com/office/drawing/2014/main" id="{A4291CC0-B6CF-1D29-94E3-C375E37A7B46}"/>
                </a:ext>
              </a:extLst>
            </p:cNvPr>
            <p:cNvSpPr>
              <a:spLocks noChangeAspect="1"/>
            </p:cNvSpPr>
            <p:nvPr/>
          </p:nvSpPr>
          <p:spPr>
            <a:xfrm rot="10800000" flipH="1" flipV="1">
              <a:off x="2606422" y="4213958"/>
              <a:ext cx="719709" cy="686401"/>
            </a:xfrm>
            <a:custGeom>
              <a:avLst/>
              <a:gdLst>
                <a:gd name="connsiteX0" fmla="*/ 359494 w 384038"/>
                <a:gd name="connsiteY0" fmla="*/ 247302 h 366265"/>
                <a:gd name="connsiteX1" fmla="*/ 351978 w 384038"/>
                <a:gd name="connsiteY1" fmla="*/ 249852 h 366265"/>
                <a:gd name="connsiteX2" fmla="*/ 351633 w 384038"/>
                <a:gd name="connsiteY2" fmla="*/ 249990 h 366265"/>
                <a:gd name="connsiteX3" fmla="*/ 351771 w 384038"/>
                <a:gd name="connsiteY3" fmla="*/ 250334 h 366265"/>
                <a:gd name="connsiteX4" fmla="*/ 366526 w 384038"/>
                <a:gd name="connsiteY4" fmla="*/ 298581 h 366265"/>
                <a:gd name="connsiteX5" fmla="*/ 370525 w 384038"/>
                <a:gd name="connsiteY5" fmla="*/ 298030 h 366265"/>
                <a:gd name="connsiteX6" fmla="*/ 374317 w 384038"/>
                <a:gd name="connsiteY6" fmla="*/ 297134 h 366265"/>
                <a:gd name="connsiteX7" fmla="*/ 359494 w 384038"/>
                <a:gd name="connsiteY7" fmla="*/ 247302 h 366265"/>
                <a:gd name="connsiteX8" fmla="*/ 73360 w 384038"/>
                <a:gd name="connsiteY8" fmla="*/ 6961 h 366265"/>
                <a:gd name="connsiteX9" fmla="*/ 71844 w 384038"/>
                <a:gd name="connsiteY9" fmla="*/ 15095 h 366265"/>
                <a:gd name="connsiteX10" fmla="*/ 72188 w 384038"/>
                <a:gd name="connsiteY10" fmla="*/ 15163 h 366265"/>
                <a:gd name="connsiteX11" fmla="*/ 120934 w 384038"/>
                <a:gd name="connsiteY11" fmla="*/ 28121 h 366265"/>
                <a:gd name="connsiteX12" fmla="*/ 121279 w 384038"/>
                <a:gd name="connsiteY12" fmla="*/ 28259 h 366265"/>
                <a:gd name="connsiteX13" fmla="*/ 123830 w 384038"/>
                <a:gd name="connsiteY13" fmla="*/ 20746 h 366265"/>
                <a:gd name="connsiteX14" fmla="*/ 73705 w 384038"/>
                <a:gd name="connsiteY14" fmla="*/ 7099 h 366265"/>
                <a:gd name="connsiteX15" fmla="*/ 73360 w 384038"/>
                <a:gd name="connsiteY15" fmla="*/ 6961 h 366265"/>
                <a:gd name="connsiteX16" fmla="*/ 379626 w 384038"/>
                <a:gd name="connsiteY16" fmla="*/ 322498 h 366265"/>
                <a:gd name="connsiteX17" fmla="*/ 374869 w 384038"/>
                <a:gd name="connsiteY17" fmla="*/ 322912 h 366265"/>
                <a:gd name="connsiteX18" fmla="*/ 371421 w 384038"/>
                <a:gd name="connsiteY18" fmla="*/ 323463 h 366265"/>
                <a:gd name="connsiteX19" fmla="*/ 371490 w 384038"/>
                <a:gd name="connsiteY19" fmla="*/ 323808 h 366265"/>
                <a:gd name="connsiteX20" fmla="*/ 375972 w 384038"/>
                <a:gd name="connsiteY20" fmla="*/ 366265 h 366265"/>
                <a:gd name="connsiteX21" fmla="*/ 384039 w 384038"/>
                <a:gd name="connsiteY21" fmla="*/ 366265 h 366265"/>
                <a:gd name="connsiteX22" fmla="*/ 379626 w 384038"/>
                <a:gd name="connsiteY22" fmla="*/ 322498 h 366265"/>
                <a:gd name="connsiteX23" fmla="*/ 69 w 384038"/>
                <a:gd name="connsiteY23" fmla="*/ 7995 h 366265"/>
                <a:gd name="connsiteX24" fmla="*/ 46678 w 384038"/>
                <a:gd name="connsiteY24" fmla="*/ 11166 h 366265"/>
                <a:gd name="connsiteX25" fmla="*/ 47367 w 384038"/>
                <a:gd name="connsiteY25" fmla="*/ 8202 h 366265"/>
                <a:gd name="connsiteX26" fmla="*/ 47988 w 384038"/>
                <a:gd name="connsiteY26" fmla="*/ 3308 h 366265"/>
                <a:gd name="connsiteX27" fmla="*/ 0 w 384038"/>
                <a:gd name="connsiteY27" fmla="*/ 0 h 366265"/>
                <a:gd name="connsiteX28" fmla="*/ 0 w 384038"/>
                <a:gd name="connsiteY28" fmla="*/ 7995 h 366265"/>
                <a:gd name="connsiteX29" fmla="*/ 148238 w 384038"/>
                <a:gd name="connsiteY29" fmla="*/ 29500 h 366265"/>
                <a:gd name="connsiteX30" fmla="*/ 146031 w 384038"/>
                <a:gd name="connsiteY30" fmla="*/ 33911 h 366265"/>
                <a:gd name="connsiteX31" fmla="*/ 144790 w 384038"/>
                <a:gd name="connsiteY31" fmla="*/ 37013 h 366265"/>
                <a:gd name="connsiteX32" fmla="*/ 147893 w 384038"/>
                <a:gd name="connsiteY32" fmla="*/ 38391 h 366265"/>
                <a:gd name="connsiteX33" fmla="*/ 190227 w 384038"/>
                <a:gd name="connsiteY33" fmla="*/ 59827 h 366265"/>
                <a:gd name="connsiteX34" fmla="*/ 194570 w 384038"/>
                <a:gd name="connsiteY34" fmla="*/ 53210 h 366265"/>
                <a:gd name="connsiteX35" fmla="*/ 150444 w 384038"/>
                <a:gd name="connsiteY35" fmla="*/ 30534 h 366265"/>
                <a:gd name="connsiteX36" fmla="*/ 148238 w 384038"/>
                <a:gd name="connsiteY36" fmla="*/ 29500 h 366265"/>
                <a:gd name="connsiteX37" fmla="*/ 276342 w 384038"/>
                <a:gd name="connsiteY37" fmla="*/ 116689 h 366265"/>
                <a:gd name="connsiteX38" fmla="*/ 273240 w 384038"/>
                <a:gd name="connsiteY38" fmla="*/ 119240 h 366265"/>
                <a:gd name="connsiteX39" fmla="*/ 270206 w 384038"/>
                <a:gd name="connsiteY39" fmla="*/ 122203 h 366265"/>
                <a:gd name="connsiteX40" fmla="*/ 276618 w 384038"/>
                <a:gd name="connsiteY40" fmla="*/ 129372 h 366265"/>
                <a:gd name="connsiteX41" fmla="*/ 302818 w 384038"/>
                <a:gd name="connsiteY41" fmla="*/ 161146 h 366265"/>
                <a:gd name="connsiteX42" fmla="*/ 308058 w 384038"/>
                <a:gd name="connsiteY42" fmla="*/ 157768 h 366265"/>
                <a:gd name="connsiteX43" fmla="*/ 309437 w 384038"/>
                <a:gd name="connsiteY43" fmla="*/ 156804 h 366265"/>
                <a:gd name="connsiteX44" fmla="*/ 282341 w 384038"/>
                <a:gd name="connsiteY44" fmla="*/ 123444 h 366265"/>
                <a:gd name="connsiteX45" fmla="*/ 276342 w 384038"/>
                <a:gd name="connsiteY45" fmla="*/ 116689 h 366265"/>
                <a:gd name="connsiteX46" fmla="*/ 320676 w 384038"/>
                <a:gd name="connsiteY46" fmla="*/ 179893 h 366265"/>
                <a:gd name="connsiteX47" fmla="*/ 317366 w 384038"/>
                <a:gd name="connsiteY47" fmla="*/ 181961 h 366265"/>
                <a:gd name="connsiteX48" fmla="*/ 317573 w 384038"/>
                <a:gd name="connsiteY48" fmla="*/ 182237 h 366265"/>
                <a:gd name="connsiteX49" fmla="*/ 341705 w 384038"/>
                <a:gd name="connsiteY49" fmla="*/ 226555 h 366265"/>
                <a:gd name="connsiteX50" fmla="*/ 347635 w 384038"/>
                <a:gd name="connsiteY50" fmla="*/ 224212 h 366265"/>
                <a:gd name="connsiteX51" fmla="*/ 349013 w 384038"/>
                <a:gd name="connsiteY51" fmla="*/ 223592 h 366265"/>
                <a:gd name="connsiteX52" fmla="*/ 324537 w 384038"/>
                <a:gd name="connsiteY52" fmla="*/ 177757 h 366265"/>
                <a:gd name="connsiteX53" fmla="*/ 320676 w 384038"/>
                <a:gd name="connsiteY53" fmla="*/ 179893 h 366265"/>
                <a:gd name="connsiteX54" fmla="*/ 216772 w 384038"/>
                <a:gd name="connsiteY54" fmla="*/ 66512 h 366265"/>
                <a:gd name="connsiteX55" fmla="*/ 212014 w 384038"/>
                <a:gd name="connsiteY55" fmla="*/ 72853 h 366265"/>
                <a:gd name="connsiteX56" fmla="*/ 211807 w 384038"/>
                <a:gd name="connsiteY56" fmla="*/ 73129 h 366265"/>
                <a:gd name="connsiteX57" fmla="*/ 222081 w 384038"/>
                <a:gd name="connsiteY57" fmla="*/ 80711 h 366265"/>
                <a:gd name="connsiteX58" fmla="*/ 251590 w 384038"/>
                <a:gd name="connsiteY58" fmla="*/ 104697 h 366265"/>
                <a:gd name="connsiteX59" fmla="*/ 257175 w 384038"/>
                <a:gd name="connsiteY59" fmla="*/ 99045 h 366265"/>
                <a:gd name="connsiteX60" fmla="*/ 226631 w 384038"/>
                <a:gd name="connsiteY60" fmla="*/ 73818 h 366265"/>
                <a:gd name="connsiteX61" fmla="*/ 216772 w 384038"/>
                <a:gd name="connsiteY61" fmla="*/ 66512 h 366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384038" h="366265">
                  <a:moveTo>
                    <a:pt x="359494" y="247302"/>
                  </a:moveTo>
                  <a:cubicBezTo>
                    <a:pt x="359080" y="247095"/>
                    <a:pt x="351978" y="249852"/>
                    <a:pt x="351978" y="249852"/>
                  </a:cubicBezTo>
                  <a:lnTo>
                    <a:pt x="351633" y="249990"/>
                  </a:lnTo>
                  <a:lnTo>
                    <a:pt x="351771" y="250334"/>
                  </a:lnTo>
                  <a:cubicBezTo>
                    <a:pt x="358252" y="267014"/>
                    <a:pt x="363010" y="282729"/>
                    <a:pt x="366526" y="298581"/>
                  </a:cubicBezTo>
                  <a:cubicBezTo>
                    <a:pt x="366940" y="298857"/>
                    <a:pt x="370525" y="298030"/>
                    <a:pt x="370525" y="298030"/>
                  </a:cubicBezTo>
                  <a:lnTo>
                    <a:pt x="374317" y="297134"/>
                  </a:lnTo>
                  <a:cubicBezTo>
                    <a:pt x="371008" y="280523"/>
                    <a:pt x="366112" y="264326"/>
                    <a:pt x="359494" y="247302"/>
                  </a:cubicBezTo>
                  <a:close/>
                  <a:moveTo>
                    <a:pt x="73360" y="6961"/>
                  </a:moveTo>
                  <a:lnTo>
                    <a:pt x="71844" y="15095"/>
                  </a:lnTo>
                  <a:lnTo>
                    <a:pt x="72188" y="15163"/>
                  </a:lnTo>
                  <a:cubicBezTo>
                    <a:pt x="89287" y="18541"/>
                    <a:pt x="105697" y="22883"/>
                    <a:pt x="120934" y="28121"/>
                  </a:cubicBezTo>
                  <a:lnTo>
                    <a:pt x="121279" y="28259"/>
                  </a:lnTo>
                  <a:lnTo>
                    <a:pt x="123830" y="20746"/>
                  </a:lnTo>
                  <a:cubicBezTo>
                    <a:pt x="108041" y="15026"/>
                    <a:pt x="91287" y="10545"/>
                    <a:pt x="73705" y="7099"/>
                  </a:cubicBezTo>
                  <a:lnTo>
                    <a:pt x="73360" y="6961"/>
                  </a:lnTo>
                  <a:close/>
                  <a:moveTo>
                    <a:pt x="379626" y="322498"/>
                  </a:moveTo>
                  <a:cubicBezTo>
                    <a:pt x="379212" y="322223"/>
                    <a:pt x="374869" y="322912"/>
                    <a:pt x="374869" y="322912"/>
                  </a:cubicBezTo>
                  <a:lnTo>
                    <a:pt x="371421" y="323463"/>
                  </a:lnTo>
                  <a:lnTo>
                    <a:pt x="371490" y="323808"/>
                  </a:lnTo>
                  <a:cubicBezTo>
                    <a:pt x="373904" y="337524"/>
                    <a:pt x="375351" y="351791"/>
                    <a:pt x="375972" y="366265"/>
                  </a:cubicBezTo>
                  <a:lnTo>
                    <a:pt x="384039" y="366265"/>
                  </a:lnTo>
                  <a:cubicBezTo>
                    <a:pt x="383625" y="351240"/>
                    <a:pt x="382177" y="336559"/>
                    <a:pt x="379626" y="322498"/>
                  </a:cubicBezTo>
                  <a:close/>
                  <a:moveTo>
                    <a:pt x="69" y="7995"/>
                  </a:moveTo>
                  <a:cubicBezTo>
                    <a:pt x="15100" y="8340"/>
                    <a:pt x="30613" y="9236"/>
                    <a:pt x="46678" y="11166"/>
                  </a:cubicBezTo>
                  <a:cubicBezTo>
                    <a:pt x="47091" y="10890"/>
                    <a:pt x="47367" y="8202"/>
                    <a:pt x="47367" y="8202"/>
                  </a:cubicBezTo>
                  <a:lnTo>
                    <a:pt x="47988" y="3308"/>
                  </a:lnTo>
                  <a:cubicBezTo>
                    <a:pt x="31164" y="1034"/>
                    <a:pt x="15169" y="69"/>
                    <a:pt x="0" y="0"/>
                  </a:cubicBezTo>
                  <a:lnTo>
                    <a:pt x="0" y="7995"/>
                  </a:lnTo>
                  <a:close/>
                  <a:moveTo>
                    <a:pt x="148238" y="29500"/>
                  </a:moveTo>
                  <a:cubicBezTo>
                    <a:pt x="147755" y="29707"/>
                    <a:pt x="146031" y="33911"/>
                    <a:pt x="146031" y="33911"/>
                  </a:cubicBezTo>
                  <a:lnTo>
                    <a:pt x="144790" y="37013"/>
                  </a:lnTo>
                  <a:lnTo>
                    <a:pt x="147893" y="38391"/>
                  </a:lnTo>
                  <a:cubicBezTo>
                    <a:pt x="160510" y="44043"/>
                    <a:pt x="176230" y="51142"/>
                    <a:pt x="190227" y="59827"/>
                  </a:cubicBezTo>
                  <a:cubicBezTo>
                    <a:pt x="190709" y="59689"/>
                    <a:pt x="194570" y="53210"/>
                    <a:pt x="194570" y="53210"/>
                  </a:cubicBezTo>
                  <a:cubicBezTo>
                    <a:pt x="180023" y="43767"/>
                    <a:pt x="163613" y="36392"/>
                    <a:pt x="150444" y="30534"/>
                  </a:cubicBezTo>
                  <a:lnTo>
                    <a:pt x="148238" y="29500"/>
                  </a:lnTo>
                  <a:close/>
                  <a:moveTo>
                    <a:pt x="276342" y="116689"/>
                  </a:moveTo>
                  <a:cubicBezTo>
                    <a:pt x="275860" y="116689"/>
                    <a:pt x="273240" y="119240"/>
                    <a:pt x="273240" y="119240"/>
                  </a:cubicBezTo>
                  <a:lnTo>
                    <a:pt x="270206" y="122203"/>
                  </a:lnTo>
                  <a:lnTo>
                    <a:pt x="276618" y="129372"/>
                  </a:lnTo>
                  <a:cubicBezTo>
                    <a:pt x="286478" y="140262"/>
                    <a:pt x="295303" y="150187"/>
                    <a:pt x="302818" y="161146"/>
                  </a:cubicBezTo>
                  <a:cubicBezTo>
                    <a:pt x="303301" y="161215"/>
                    <a:pt x="308058" y="157768"/>
                    <a:pt x="308058" y="157768"/>
                  </a:cubicBezTo>
                  <a:lnTo>
                    <a:pt x="309437" y="156804"/>
                  </a:lnTo>
                  <a:cubicBezTo>
                    <a:pt x="301095" y="144190"/>
                    <a:pt x="290753" y="132680"/>
                    <a:pt x="282341" y="123444"/>
                  </a:cubicBezTo>
                  <a:lnTo>
                    <a:pt x="276342" y="116689"/>
                  </a:lnTo>
                  <a:close/>
                  <a:moveTo>
                    <a:pt x="320676" y="179893"/>
                  </a:moveTo>
                  <a:lnTo>
                    <a:pt x="317366" y="181961"/>
                  </a:lnTo>
                  <a:lnTo>
                    <a:pt x="317573" y="182237"/>
                  </a:lnTo>
                  <a:cubicBezTo>
                    <a:pt x="325985" y="195884"/>
                    <a:pt x="334741" y="210703"/>
                    <a:pt x="341705" y="226555"/>
                  </a:cubicBezTo>
                  <a:cubicBezTo>
                    <a:pt x="342188" y="226693"/>
                    <a:pt x="347635" y="224212"/>
                    <a:pt x="347635" y="224212"/>
                  </a:cubicBezTo>
                  <a:lnTo>
                    <a:pt x="349013" y="223592"/>
                  </a:lnTo>
                  <a:cubicBezTo>
                    <a:pt x="342050" y="206843"/>
                    <a:pt x="333155" y="191748"/>
                    <a:pt x="324537" y="177757"/>
                  </a:cubicBezTo>
                  <a:cubicBezTo>
                    <a:pt x="324054" y="177688"/>
                    <a:pt x="320676" y="179893"/>
                    <a:pt x="320676" y="179893"/>
                  </a:cubicBezTo>
                  <a:close/>
                  <a:moveTo>
                    <a:pt x="216772" y="66512"/>
                  </a:moveTo>
                  <a:cubicBezTo>
                    <a:pt x="216289" y="66581"/>
                    <a:pt x="212014" y="72853"/>
                    <a:pt x="212014" y="72853"/>
                  </a:cubicBezTo>
                  <a:lnTo>
                    <a:pt x="211807" y="73129"/>
                  </a:lnTo>
                  <a:lnTo>
                    <a:pt x="222081" y="80711"/>
                  </a:lnTo>
                  <a:cubicBezTo>
                    <a:pt x="233043" y="88706"/>
                    <a:pt x="242765" y="96081"/>
                    <a:pt x="251590" y="104697"/>
                  </a:cubicBezTo>
                  <a:cubicBezTo>
                    <a:pt x="252073" y="104697"/>
                    <a:pt x="257175" y="99045"/>
                    <a:pt x="257175" y="99045"/>
                  </a:cubicBezTo>
                  <a:cubicBezTo>
                    <a:pt x="248074" y="89740"/>
                    <a:pt x="238007" y="82089"/>
                    <a:pt x="226631" y="73818"/>
                  </a:cubicBezTo>
                  <a:lnTo>
                    <a:pt x="216772" y="66512"/>
                  </a:lnTo>
                  <a:close/>
                </a:path>
              </a:pathLst>
            </a:custGeom>
            <a:solidFill>
              <a:schemeClr val="accent4"/>
            </a:solidFill>
            <a:ln w="68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sp>
        <p:nvSpPr>
          <p:cNvPr id="2248" name="Freeform 60">
            <a:extLst>
              <a:ext uri="{FF2B5EF4-FFF2-40B4-BE49-F238E27FC236}">
                <a16:creationId xmlns:a16="http://schemas.microsoft.com/office/drawing/2014/main" id="{2C1EC707-EE66-15FE-53A7-DE9D1159F114}"/>
              </a:ext>
            </a:extLst>
          </p:cNvPr>
          <p:cNvSpPr/>
          <p:nvPr/>
        </p:nvSpPr>
        <p:spPr>
          <a:xfrm rot="11772233" flipV="1">
            <a:off x="8536381" y="3584609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49" name="Freeform 59">
            <a:extLst>
              <a:ext uri="{FF2B5EF4-FFF2-40B4-BE49-F238E27FC236}">
                <a16:creationId xmlns:a16="http://schemas.microsoft.com/office/drawing/2014/main" id="{14F44063-5AC8-ABE3-6C21-9F8FF24F14DB}"/>
              </a:ext>
            </a:extLst>
          </p:cNvPr>
          <p:cNvSpPr>
            <a:spLocks noChangeAspect="1"/>
          </p:cNvSpPr>
          <p:nvPr/>
        </p:nvSpPr>
        <p:spPr>
          <a:xfrm rot="11772233" flipV="1">
            <a:off x="8716930" y="3819692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05" name="Freeform 60">
            <a:extLst>
              <a:ext uri="{FF2B5EF4-FFF2-40B4-BE49-F238E27FC236}">
                <a16:creationId xmlns:a16="http://schemas.microsoft.com/office/drawing/2014/main" id="{2770AF82-F772-0709-F96B-951EF100AB0C}"/>
              </a:ext>
            </a:extLst>
          </p:cNvPr>
          <p:cNvSpPr/>
          <p:nvPr/>
        </p:nvSpPr>
        <p:spPr>
          <a:xfrm flipV="1">
            <a:off x="1261786" y="2574734"/>
            <a:ext cx="926245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06" name="Freeform 59">
            <a:extLst>
              <a:ext uri="{FF2B5EF4-FFF2-40B4-BE49-F238E27FC236}">
                <a16:creationId xmlns:a16="http://schemas.microsoft.com/office/drawing/2014/main" id="{650910D0-DAEE-7BE6-726A-81F8C2BEB9D0}"/>
              </a:ext>
            </a:extLst>
          </p:cNvPr>
          <p:cNvSpPr>
            <a:spLocks noChangeAspect="1"/>
          </p:cNvSpPr>
          <p:nvPr/>
        </p:nvSpPr>
        <p:spPr>
          <a:xfrm flipV="1">
            <a:off x="1261786" y="2607676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1" name="Freeform 60">
            <a:extLst>
              <a:ext uri="{FF2B5EF4-FFF2-40B4-BE49-F238E27FC236}">
                <a16:creationId xmlns:a16="http://schemas.microsoft.com/office/drawing/2014/main" id="{C79D171E-FDF8-D093-8B1E-2C01253DCF24}"/>
              </a:ext>
            </a:extLst>
          </p:cNvPr>
          <p:cNvSpPr/>
          <p:nvPr/>
        </p:nvSpPr>
        <p:spPr>
          <a:xfrm rot="10800000" flipV="1">
            <a:off x="1752430" y="1652947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2" name="Freeform 59">
            <a:extLst>
              <a:ext uri="{FF2B5EF4-FFF2-40B4-BE49-F238E27FC236}">
                <a16:creationId xmlns:a16="http://schemas.microsoft.com/office/drawing/2014/main" id="{04D2F899-8FF0-AB05-2479-4DB60DAED9FC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1961755" y="1862328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3" name="Freeform 60">
            <a:extLst>
              <a:ext uri="{FF2B5EF4-FFF2-40B4-BE49-F238E27FC236}">
                <a16:creationId xmlns:a16="http://schemas.microsoft.com/office/drawing/2014/main" id="{19C081CA-CCC0-CDBA-0160-F20739CB0556}"/>
              </a:ext>
            </a:extLst>
          </p:cNvPr>
          <p:cNvSpPr/>
          <p:nvPr/>
        </p:nvSpPr>
        <p:spPr>
          <a:xfrm rot="10800000" flipH="1" flipV="1">
            <a:off x="2681463" y="1653773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4" name="Freeform 59">
            <a:extLst>
              <a:ext uri="{FF2B5EF4-FFF2-40B4-BE49-F238E27FC236}">
                <a16:creationId xmlns:a16="http://schemas.microsoft.com/office/drawing/2014/main" id="{7BA7AEC9-A652-EA7D-350F-6509E43A9FAF}"/>
              </a:ext>
            </a:extLst>
          </p:cNvPr>
          <p:cNvSpPr>
            <a:spLocks noChangeAspect="1"/>
          </p:cNvSpPr>
          <p:nvPr/>
        </p:nvSpPr>
        <p:spPr>
          <a:xfrm rot="10800000" flipH="1" flipV="1">
            <a:off x="2681463" y="1863154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077" name="Graphic 2076">
            <a:extLst>
              <a:ext uri="{FF2B5EF4-FFF2-40B4-BE49-F238E27FC236}">
                <a16:creationId xmlns:a16="http://schemas.microsoft.com/office/drawing/2014/main" id="{CC12845A-BB69-34FE-61CE-5DE3F05B6C9D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168479" y="3070757"/>
            <a:ext cx="301602" cy="301602"/>
          </a:xfrm>
          <a:prstGeom prst="rect">
            <a:avLst/>
          </a:prstGeom>
        </p:spPr>
      </p:pic>
      <p:sp>
        <p:nvSpPr>
          <p:cNvPr id="2117" name="Freeform 9">
            <a:extLst>
              <a:ext uri="{FF2B5EF4-FFF2-40B4-BE49-F238E27FC236}">
                <a16:creationId xmlns:a16="http://schemas.microsoft.com/office/drawing/2014/main" id="{EF7F42F5-4253-07DA-ACDD-8C84ADCFF41F}"/>
              </a:ext>
            </a:extLst>
          </p:cNvPr>
          <p:cNvSpPr>
            <a:spLocks noChangeAspect="1"/>
          </p:cNvSpPr>
          <p:nvPr/>
        </p:nvSpPr>
        <p:spPr>
          <a:xfrm rot="5400000">
            <a:off x="2056877" y="3684578"/>
            <a:ext cx="2671639" cy="435600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18" name="Freeform 10">
            <a:extLst>
              <a:ext uri="{FF2B5EF4-FFF2-40B4-BE49-F238E27FC236}">
                <a16:creationId xmlns:a16="http://schemas.microsoft.com/office/drawing/2014/main" id="{59FB0157-DC41-D3D4-C41F-E43F0F2EF237}"/>
              </a:ext>
            </a:extLst>
          </p:cNvPr>
          <p:cNvSpPr>
            <a:spLocks noChangeAspect="1"/>
          </p:cNvSpPr>
          <p:nvPr/>
        </p:nvSpPr>
        <p:spPr>
          <a:xfrm rot="5400000">
            <a:off x="2973429" y="3907661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19" name="Freeform 10">
            <a:extLst>
              <a:ext uri="{FF2B5EF4-FFF2-40B4-BE49-F238E27FC236}">
                <a16:creationId xmlns:a16="http://schemas.microsoft.com/office/drawing/2014/main" id="{E0821457-C02C-928E-5824-C771B8FC1DB0}"/>
              </a:ext>
            </a:extLst>
          </p:cNvPr>
          <p:cNvSpPr>
            <a:spLocks noChangeAspect="1"/>
          </p:cNvSpPr>
          <p:nvPr/>
        </p:nvSpPr>
        <p:spPr>
          <a:xfrm rot="5400000">
            <a:off x="2973429" y="302550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0" name="Freeform 10">
            <a:extLst>
              <a:ext uri="{FF2B5EF4-FFF2-40B4-BE49-F238E27FC236}">
                <a16:creationId xmlns:a16="http://schemas.microsoft.com/office/drawing/2014/main" id="{426BF6EE-FC6D-0AE1-993D-1B56DC7EBAF8}"/>
              </a:ext>
            </a:extLst>
          </p:cNvPr>
          <p:cNvSpPr>
            <a:spLocks noChangeAspect="1"/>
          </p:cNvSpPr>
          <p:nvPr/>
        </p:nvSpPr>
        <p:spPr>
          <a:xfrm rot="5400000">
            <a:off x="2975313" y="4811728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5" name="Freeform 60">
            <a:extLst>
              <a:ext uri="{FF2B5EF4-FFF2-40B4-BE49-F238E27FC236}">
                <a16:creationId xmlns:a16="http://schemas.microsoft.com/office/drawing/2014/main" id="{14D5D08D-2CCA-83B5-B770-7B397F481CEF}"/>
              </a:ext>
            </a:extLst>
          </p:cNvPr>
          <p:cNvSpPr/>
          <p:nvPr/>
        </p:nvSpPr>
        <p:spPr>
          <a:xfrm flipH="1" flipV="1">
            <a:off x="3174894" y="5224470"/>
            <a:ext cx="923639" cy="935412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26" name="Freeform 59">
            <a:extLst>
              <a:ext uri="{FF2B5EF4-FFF2-40B4-BE49-F238E27FC236}">
                <a16:creationId xmlns:a16="http://schemas.microsoft.com/office/drawing/2014/main" id="{35E2BAA0-782C-8B85-7292-6A7F6A1D283E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3383003" y="5257648"/>
            <a:ext cx="715530" cy="691345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28" name="Graphic 2127">
            <a:extLst>
              <a:ext uri="{FF2B5EF4-FFF2-40B4-BE49-F238E27FC236}">
                <a16:creationId xmlns:a16="http://schemas.microsoft.com/office/drawing/2014/main" id="{504B2928-5EE2-9F12-0F0A-CA1BC443D824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5965520" y="5793165"/>
            <a:ext cx="301602" cy="301602"/>
          </a:xfrm>
          <a:prstGeom prst="rect">
            <a:avLst/>
          </a:prstGeom>
        </p:spPr>
      </p:pic>
      <p:sp>
        <p:nvSpPr>
          <p:cNvPr id="2129" name="Freeform 9">
            <a:extLst>
              <a:ext uri="{FF2B5EF4-FFF2-40B4-BE49-F238E27FC236}">
                <a16:creationId xmlns:a16="http://schemas.microsoft.com/office/drawing/2014/main" id="{A7CCE60D-8B24-D696-D3CC-92311E8AB49F}"/>
              </a:ext>
            </a:extLst>
          </p:cNvPr>
          <p:cNvSpPr>
            <a:spLocks noChangeAspect="1"/>
          </p:cNvSpPr>
          <p:nvPr/>
        </p:nvSpPr>
        <p:spPr>
          <a:xfrm rot="10800000">
            <a:off x="4087195" y="5718388"/>
            <a:ext cx="2697870" cy="44149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0" name="Freeform 10">
            <a:extLst>
              <a:ext uri="{FF2B5EF4-FFF2-40B4-BE49-F238E27FC236}">
                <a16:creationId xmlns:a16="http://schemas.microsoft.com/office/drawing/2014/main" id="{6E8644D1-D318-353A-C3E9-F9DC178422B8}"/>
              </a:ext>
            </a:extLst>
          </p:cNvPr>
          <p:cNvSpPr>
            <a:spLocks noChangeAspect="1"/>
          </p:cNvSpPr>
          <p:nvPr/>
        </p:nvSpPr>
        <p:spPr>
          <a:xfrm rot="10800000">
            <a:off x="5003749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1" name="Freeform 10">
            <a:extLst>
              <a:ext uri="{FF2B5EF4-FFF2-40B4-BE49-F238E27FC236}">
                <a16:creationId xmlns:a16="http://schemas.microsoft.com/office/drawing/2014/main" id="{7E55C5A8-2072-FEBE-C33F-B5C32F5604EB}"/>
              </a:ext>
            </a:extLst>
          </p:cNvPr>
          <p:cNvSpPr>
            <a:spLocks noChangeAspect="1"/>
          </p:cNvSpPr>
          <p:nvPr/>
        </p:nvSpPr>
        <p:spPr>
          <a:xfrm rot="10800000">
            <a:off x="5885908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34" name="Freeform 60">
            <a:extLst>
              <a:ext uri="{FF2B5EF4-FFF2-40B4-BE49-F238E27FC236}">
                <a16:creationId xmlns:a16="http://schemas.microsoft.com/office/drawing/2014/main" id="{A6983B24-2DB9-38F0-9258-646547BF7EAB}"/>
              </a:ext>
            </a:extLst>
          </p:cNvPr>
          <p:cNvSpPr/>
          <p:nvPr/>
        </p:nvSpPr>
        <p:spPr>
          <a:xfrm rot="10800000" flipV="1">
            <a:off x="7252721" y="4328687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35" name="Freeform 59">
            <a:extLst>
              <a:ext uri="{FF2B5EF4-FFF2-40B4-BE49-F238E27FC236}">
                <a16:creationId xmlns:a16="http://schemas.microsoft.com/office/drawing/2014/main" id="{B8D7AFFE-D919-F9E5-0D1C-23690B8BD941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7462046" y="4538068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1" name="Freeform 60">
            <a:extLst>
              <a:ext uri="{FF2B5EF4-FFF2-40B4-BE49-F238E27FC236}">
                <a16:creationId xmlns:a16="http://schemas.microsoft.com/office/drawing/2014/main" id="{06C11CAA-AB95-CEC2-DE3D-5C0DC844288A}"/>
              </a:ext>
            </a:extLst>
          </p:cNvPr>
          <p:cNvSpPr/>
          <p:nvPr/>
        </p:nvSpPr>
        <p:spPr>
          <a:xfrm flipV="1">
            <a:off x="6764684" y="5224469"/>
            <a:ext cx="929034" cy="935412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42" name="Freeform 59">
            <a:extLst>
              <a:ext uri="{FF2B5EF4-FFF2-40B4-BE49-F238E27FC236}">
                <a16:creationId xmlns:a16="http://schemas.microsoft.com/office/drawing/2014/main" id="{FEC6F9BD-5652-D0F4-C167-05998421923F}"/>
              </a:ext>
            </a:extLst>
          </p:cNvPr>
          <p:cNvSpPr>
            <a:spLocks noChangeAspect="1"/>
          </p:cNvSpPr>
          <p:nvPr/>
        </p:nvSpPr>
        <p:spPr>
          <a:xfrm flipV="1">
            <a:off x="6764684" y="5257647"/>
            <a:ext cx="719709" cy="691345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44" name="Freeform 60">
            <a:extLst>
              <a:ext uri="{FF2B5EF4-FFF2-40B4-BE49-F238E27FC236}">
                <a16:creationId xmlns:a16="http://schemas.microsoft.com/office/drawing/2014/main" id="{79569604-6A73-D9DE-ACEB-3F918EA767AB}"/>
              </a:ext>
            </a:extLst>
          </p:cNvPr>
          <p:cNvSpPr/>
          <p:nvPr/>
        </p:nvSpPr>
        <p:spPr>
          <a:xfrm flipV="1">
            <a:off x="8179641" y="3839494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45" name="Freeform 59">
            <a:extLst>
              <a:ext uri="{FF2B5EF4-FFF2-40B4-BE49-F238E27FC236}">
                <a16:creationId xmlns:a16="http://schemas.microsoft.com/office/drawing/2014/main" id="{4980EB2C-3DF6-4642-9413-DAA83D11F82D}"/>
              </a:ext>
            </a:extLst>
          </p:cNvPr>
          <p:cNvSpPr>
            <a:spLocks noChangeAspect="1"/>
          </p:cNvSpPr>
          <p:nvPr/>
        </p:nvSpPr>
        <p:spPr>
          <a:xfrm flipV="1">
            <a:off x="8179641" y="387243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47" name="Freeform 60">
            <a:extLst>
              <a:ext uri="{FF2B5EF4-FFF2-40B4-BE49-F238E27FC236}">
                <a16:creationId xmlns:a16="http://schemas.microsoft.com/office/drawing/2014/main" id="{3B652A42-66B1-24DE-70B5-9610396D3572}"/>
              </a:ext>
            </a:extLst>
          </p:cNvPr>
          <p:cNvSpPr/>
          <p:nvPr/>
        </p:nvSpPr>
        <p:spPr>
          <a:xfrm rot="10800000" flipV="1">
            <a:off x="8670393" y="1999344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48" name="Freeform 59">
            <a:extLst>
              <a:ext uri="{FF2B5EF4-FFF2-40B4-BE49-F238E27FC236}">
                <a16:creationId xmlns:a16="http://schemas.microsoft.com/office/drawing/2014/main" id="{38EDED82-E9A2-0EDA-F987-915B29A75D13}"/>
              </a:ext>
            </a:extLst>
          </p:cNvPr>
          <p:cNvSpPr>
            <a:spLocks noChangeAspect="1"/>
          </p:cNvSpPr>
          <p:nvPr/>
        </p:nvSpPr>
        <p:spPr>
          <a:xfrm rot="10800000" flipV="1">
            <a:off x="8879718" y="220872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50" name="Graphic 2149">
            <a:extLst>
              <a:ext uri="{FF2B5EF4-FFF2-40B4-BE49-F238E27FC236}">
                <a16:creationId xmlns:a16="http://schemas.microsoft.com/office/drawing/2014/main" id="{85DF23D8-11CD-FD8F-ED46-65CDA0901658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661877" y="3418156"/>
            <a:ext cx="301602" cy="301602"/>
          </a:xfrm>
          <a:prstGeom prst="rect">
            <a:avLst/>
          </a:prstGeom>
        </p:spPr>
      </p:pic>
      <p:sp>
        <p:nvSpPr>
          <p:cNvPr id="2151" name="Freeform 9">
            <a:extLst>
              <a:ext uri="{FF2B5EF4-FFF2-40B4-BE49-F238E27FC236}">
                <a16:creationId xmlns:a16="http://schemas.microsoft.com/office/drawing/2014/main" id="{E8924281-F504-D0A7-A825-421F6C5F13A8}"/>
              </a:ext>
            </a:extLst>
          </p:cNvPr>
          <p:cNvSpPr>
            <a:spLocks noChangeAspect="1"/>
          </p:cNvSpPr>
          <p:nvPr/>
        </p:nvSpPr>
        <p:spPr>
          <a:xfrm rot="5400000">
            <a:off x="8425172" y="3162560"/>
            <a:ext cx="928723" cy="438282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154" name="Freeform 10">
            <a:extLst>
              <a:ext uri="{FF2B5EF4-FFF2-40B4-BE49-F238E27FC236}">
                <a16:creationId xmlns:a16="http://schemas.microsoft.com/office/drawing/2014/main" id="{78F4C7AB-4E37-8453-B3B9-A4C0855854C4}"/>
              </a:ext>
            </a:extLst>
          </p:cNvPr>
          <p:cNvSpPr>
            <a:spLocks noChangeAspect="1"/>
          </p:cNvSpPr>
          <p:nvPr/>
        </p:nvSpPr>
        <p:spPr>
          <a:xfrm rot="5400000">
            <a:off x="8433146" y="3377714"/>
            <a:ext cx="900000" cy="15455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57" name="Freeform 10">
            <a:extLst>
              <a:ext uri="{FF2B5EF4-FFF2-40B4-BE49-F238E27FC236}">
                <a16:creationId xmlns:a16="http://schemas.microsoft.com/office/drawing/2014/main" id="{981B8247-A79E-B88C-BA9F-5AB9E90D3362}"/>
              </a:ext>
            </a:extLst>
          </p:cNvPr>
          <p:cNvSpPr>
            <a:spLocks noChangeAspect="1"/>
          </p:cNvSpPr>
          <p:nvPr/>
        </p:nvSpPr>
        <p:spPr>
          <a:xfrm rot="10800000">
            <a:off x="4172590" y="5936766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62" name="Graphic 2161">
            <a:extLst>
              <a:ext uri="{FF2B5EF4-FFF2-40B4-BE49-F238E27FC236}">
                <a16:creationId xmlns:a16="http://schemas.microsoft.com/office/drawing/2014/main" id="{CCD6E6E8-FA88-D63A-BCB6-5BC8D9D3F739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11451056" y="2065131"/>
            <a:ext cx="301602" cy="301602"/>
          </a:xfrm>
          <a:prstGeom prst="rect">
            <a:avLst/>
          </a:prstGeom>
        </p:spPr>
      </p:pic>
      <p:sp>
        <p:nvSpPr>
          <p:cNvPr id="2163" name="Freeform 9">
            <a:extLst>
              <a:ext uri="{FF2B5EF4-FFF2-40B4-BE49-F238E27FC236}">
                <a16:creationId xmlns:a16="http://schemas.microsoft.com/office/drawing/2014/main" id="{68065541-4E6A-F640-97FA-F8B2168954C0}"/>
              </a:ext>
            </a:extLst>
          </p:cNvPr>
          <p:cNvSpPr>
            <a:spLocks noChangeAspect="1"/>
          </p:cNvSpPr>
          <p:nvPr/>
        </p:nvSpPr>
        <p:spPr>
          <a:xfrm rot="10800000">
            <a:off x="9585216" y="1999343"/>
            <a:ext cx="2671639" cy="438743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4" name="Freeform 10">
            <a:extLst>
              <a:ext uri="{FF2B5EF4-FFF2-40B4-BE49-F238E27FC236}">
                <a16:creationId xmlns:a16="http://schemas.microsoft.com/office/drawing/2014/main" id="{E14E29F9-DCFA-9222-A76E-A0315034FE6F}"/>
              </a:ext>
            </a:extLst>
          </p:cNvPr>
          <p:cNvSpPr>
            <a:spLocks noChangeAspect="1"/>
          </p:cNvSpPr>
          <p:nvPr/>
        </p:nvSpPr>
        <p:spPr>
          <a:xfrm rot="10800000">
            <a:off x="10489285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5" name="Freeform 10">
            <a:extLst>
              <a:ext uri="{FF2B5EF4-FFF2-40B4-BE49-F238E27FC236}">
                <a16:creationId xmlns:a16="http://schemas.microsoft.com/office/drawing/2014/main" id="{1C481652-F5F6-647D-1265-F10DAB44BC99}"/>
              </a:ext>
            </a:extLst>
          </p:cNvPr>
          <p:cNvSpPr>
            <a:spLocks noChangeAspect="1"/>
          </p:cNvSpPr>
          <p:nvPr/>
        </p:nvSpPr>
        <p:spPr>
          <a:xfrm rot="10800000">
            <a:off x="11371444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6" name="Freeform 10">
            <a:extLst>
              <a:ext uri="{FF2B5EF4-FFF2-40B4-BE49-F238E27FC236}">
                <a16:creationId xmlns:a16="http://schemas.microsoft.com/office/drawing/2014/main" id="{A4E41721-1AEC-1660-E0E7-D350E848EA4A}"/>
              </a:ext>
            </a:extLst>
          </p:cNvPr>
          <p:cNvSpPr>
            <a:spLocks noChangeAspect="1"/>
          </p:cNvSpPr>
          <p:nvPr/>
        </p:nvSpPr>
        <p:spPr>
          <a:xfrm rot="10800000">
            <a:off x="9658126" y="2208732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pic>
        <p:nvPicPr>
          <p:cNvPr id="2167" name="Graphic 2166">
            <a:extLst>
              <a:ext uri="{FF2B5EF4-FFF2-40B4-BE49-F238E27FC236}">
                <a16:creationId xmlns:a16="http://schemas.microsoft.com/office/drawing/2014/main" id="{B9CBEBA8-6CCD-8372-C782-D925DCCF525B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5400000">
            <a:off x="467333" y="3132313"/>
            <a:ext cx="301602" cy="301602"/>
          </a:xfrm>
          <a:prstGeom prst="rect">
            <a:avLst/>
          </a:prstGeom>
        </p:spPr>
      </p:pic>
      <p:sp>
        <p:nvSpPr>
          <p:cNvPr id="2168" name="Freeform 9">
            <a:extLst>
              <a:ext uri="{FF2B5EF4-FFF2-40B4-BE49-F238E27FC236}">
                <a16:creationId xmlns:a16="http://schemas.microsoft.com/office/drawing/2014/main" id="{17E98202-48CD-7C33-403C-309644620407}"/>
              </a:ext>
            </a:extLst>
          </p:cNvPr>
          <p:cNvSpPr>
            <a:spLocks noChangeAspect="1"/>
          </p:cNvSpPr>
          <p:nvPr/>
        </p:nvSpPr>
        <p:spPr>
          <a:xfrm rot="10800000">
            <a:off x="-1398506" y="3065314"/>
            <a:ext cx="2671639" cy="435600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69" name="Freeform 10">
            <a:extLst>
              <a:ext uri="{FF2B5EF4-FFF2-40B4-BE49-F238E27FC236}">
                <a16:creationId xmlns:a16="http://schemas.microsoft.com/office/drawing/2014/main" id="{830EEA0F-AE49-643A-9725-43AC0225A932}"/>
              </a:ext>
            </a:extLst>
          </p:cNvPr>
          <p:cNvSpPr>
            <a:spLocks noChangeAspect="1"/>
          </p:cNvSpPr>
          <p:nvPr/>
        </p:nvSpPr>
        <p:spPr>
          <a:xfrm rot="10800000">
            <a:off x="-494438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0" name="Freeform 10">
            <a:extLst>
              <a:ext uri="{FF2B5EF4-FFF2-40B4-BE49-F238E27FC236}">
                <a16:creationId xmlns:a16="http://schemas.microsoft.com/office/drawing/2014/main" id="{2A824690-1A1A-0A93-BB86-EC78CFC17882}"/>
              </a:ext>
            </a:extLst>
          </p:cNvPr>
          <p:cNvSpPr>
            <a:spLocks noChangeAspect="1"/>
          </p:cNvSpPr>
          <p:nvPr/>
        </p:nvSpPr>
        <p:spPr>
          <a:xfrm rot="10800000">
            <a:off x="387721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1" name="Freeform 10">
            <a:extLst>
              <a:ext uri="{FF2B5EF4-FFF2-40B4-BE49-F238E27FC236}">
                <a16:creationId xmlns:a16="http://schemas.microsoft.com/office/drawing/2014/main" id="{96B915FE-2C53-4569-D976-C0A80D419116}"/>
              </a:ext>
            </a:extLst>
          </p:cNvPr>
          <p:cNvSpPr>
            <a:spLocks noChangeAspect="1"/>
          </p:cNvSpPr>
          <p:nvPr/>
        </p:nvSpPr>
        <p:spPr>
          <a:xfrm rot="10800000">
            <a:off x="-1325597" y="3275914"/>
            <a:ext cx="838537" cy="14400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174" name="TextBox 2173">
            <a:extLst>
              <a:ext uri="{FF2B5EF4-FFF2-40B4-BE49-F238E27FC236}">
                <a16:creationId xmlns:a16="http://schemas.microsoft.com/office/drawing/2014/main" id="{D032A754-9E6C-20A0-A091-987ABA92AF90}"/>
              </a:ext>
            </a:extLst>
          </p:cNvPr>
          <p:cNvSpPr txBox="1"/>
          <p:nvPr/>
        </p:nvSpPr>
        <p:spPr>
          <a:xfrm>
            <a:off x="90149" y="1279608"/>
            <a:ext cx="1529822" cy="461665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Het gaat niet goed met me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4C0B1A-4A32-A82A-B5E0-382C98398725}"/>
              </a:ext>
            </a:extLst>
          </p:cNvPr>
          <p:cNvSpPr/>
          <p:nvPr/>
        </p:nvSpPr>
        <p:spPr>
          <a:xfrm>
            <a:off x="160240" y="1855162"/>
            <a:ext cx="712894" cy="1323082"/>
          </a:xfrm>
          <a:custGeom>
            <a:avLst/>
            <a:gdLst>
              <a:gd name="connsiteX0" fmla="*/ 539632 w 712894"/>
              <a:gd name="connsiteY0" fmla="*/ 80819 h 1323082"/>
              <a:gd name="connsiteX1" fmla="*/ 460197 w 712894"/>
              <a:gd name="connsiteY1" fmla="*/ 77994 h 1323082"/>
              <a:gd name="connsiteX2" fmla="*/ 450282 w 712894"/>
              <a:gd name="connsiteY2" fmla="*/ 90734 h 1323082"/>
              <a:gd name="connsiteX3" fmla="*/ 325479 w 712894"/>
              <a:gd name="connsiteY3" fmla="*/ 0 h 1323082"/>
              <a:gd name="connsiteX4" fmla="*/ 193586 w 712894"/>
              <a:gd name="connsiteY4" fmla="*/ 131893 h 1323082"/>
              <a:gd name="connsiteX5" fmla="*/ 325479 w 712894"/>
              <a:gd name="connsiteY5" fmla="*/ 263786 h 1323082"/>
              <a:gd name="connsiteX6" fmla="*/ 454547 w 712894"/>
              <a:gd name="connsiteY6" fmla="*/ 154605 h 1323082"/>
              <a:gd name="connsiteX7" fmla="*/ 455987 w 712894"/>
              <a:gd name="connsiteY7" fmla="*/ 157430 h 1323082"/>
              <a:gd name="connsiteX8" fmla="*/ 583614 w 712894"/>
              <a:gd name="connsiteY8" fmla="*/ 316241 h 1323082"/>
              <a:gd name="connsiteX9" fmla="*/ 489998 w 712894"/>
              <a:gd name="connsiteY9" fmla="*/ 309150 h 1323082"/>
              <a:gd name="connsiteX10" fmla="*/ 400647 w 712894"/>
              <a:gd name="connsiteY10" fmla="*/ 303500 h 1323082"/>
              <a:gd name="connsiteX11" fmla="*/ 248927 w 712894"/>
              <a:gd name="connsiteY11" fmla="*/ 303445 h 1323082"/>
              <a:gd name="connsiteX12" fmla="*/ 63130 w 712894"/>
              <a:gd name="connsiteY12" fmla="*/ 501977 h 1323082"/>
              <a:gd name="connsiteX13" fmla="*/ 2196 w 712894"/>
              <a:gd name="connsiteY13" fmla="*/ 717511 h 1323082"/>
              <a:gd name="connsiteX14" fmla="*/ 40473 w 712894"/>
              <a:gd name="connsiteY14" fmla="*/ 786974 h 1323082"/>
              <a:gd name="connsiteX15" fmla="*/ 56095 w 712894"/>
              <a:gd name="connsiteY15" fmla="*/ 789799 h 1323082"/>
              <a:gd name="connsiteX16" fmla="*/ 109993 w 712894"/>
              <a:gd name="connsiteY16" fmla="*/ 748697 h 1323082"/>
              <a:gd name="connsiteX17" fmla="*/ 172366 w 712894"/>
              <a:gd name="connsiteY17" fmla="*/ 530341 h 1323082"/>
              <a:gd name="connsiteX18" fmla="*/ 195078 w 712894"/>
              <a:gd name="connsiteY18" fmla="*/ 475059 h 1323082"/>
              <a:gd name="connsiteX19" fmla="*/ 200729 w 712894"/>
              <a:gd name="connsiteY19" fmla="*/ 741672 h 1323082"/>
              <a:gd name="connsiteX20" fmla="*/ 136915 w 712894"/>
              <a:gd name="connsiteY20" fmla="*/ 1247913 h 1323082"/>
              <a:gd name="connsiteX21" fmla="*/ 193639 w 712894"/>
              <a:gd name="connsiteY21" fmla="*/ 1321642 h 1323082"/>
              <a:gd name="connsiteX22" fmla="*/ 267368 w 712894"/>
              <a:gd name="connsiteY22" fmla="*/ 1264919 h 1323082"/>
              <a:gd name="connsiteX23" fmla="*/ 325532 w 712894"/>
              <a:gd name="connsiteY23" fmla="*/ 804042 h 1323082"/>
              <a:gd name="connsiteX24" fmla="*/ 383696 w 712894"/>
              <a:gd name="connsiteY24" fmla="*/ 1264919 h 1323082"/>
              <a:gd name="connsiteX25" fmla="*/ 448950 w 712894"/>
              <a:gd name="connsiteY25" fmla="*/ 1323083 h 1323082"/>
              <a:gd name="connsiteX26" fmla="*/ 457480 w 712894"/>
              <a:gd name="connsiteY26" fmla="*/ 1323083 h 1323082"/>
              <a:gd name="connsiteX27" fmla="*/ 514203 w 712894"/>
              <a:gd name="connsiteY27" fmla="*/ 1249354 h 1323082"/>
              <a:gd name="connsiteX28" fmla="*/ 450390 w 712894"/>
              <a:gd name="connsiteY28" fmla="*/ 743113 h 1323082"/>
              <a:gd name="connsiteX29" fmla="*/ 455985 w 712894"/>
              <a:gd name="connsiteY29" fmla="*/ 418344 h 1323082"/>
              <a:gd name="connsiteX30" fmla="*/ 478697 w 712894"/>
              <a:gd name="connsiteY30" fmla="*/ 421169 h 1323082"/>
              <a:gd name="connsiteX31" fmla="*/ 587878 w 712894"/>
              <a:gd name="connsiteY31" fmla="*/ 428259 h 1323082"/>
              <a:gd name="connsiteX32" fmla="*/ 688585 w 712894"/>
              <a:gd name="connsiteY32" fmla="*/ 401338 h 1323082"/>
              <a:gd name="connsiteX33" fmla="*/ 712681 w 712894"/>
              <a:gd name="connsiteY33" fmla="*/ 350265 h 1323082"/>
              <a:gd name="connsiteX34" fmla="*/ 539632 w 712894"/>
              <a:gd name="connsiteY34" fmla="*/ 80829 h 1323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712894" h="1323082">
                <a:moveTo>
                  <a:pt x="539632" y="80819"/>
                </a:moveTo>
                <a:cubicBezTo>
                  <a:pt x="518361" y="58107"/>
                  <a:pt x="482909" y="56723"/>
                  <a:pt x="460197" y="77994"/>
                </a:cubicBezTo>
                <a:cubicBezTo>
                  <a:pt x="455931" y="82260"/>
                  <a:pt x="453107" y="86524"/>
                  <a:pt x="450282" y="90734"/>
                </a:cubicBezTo>
                <a:cubicBezTo>
                  <a:pt x="433276" y="38277"/>
                  <a:pt x="383643" y="0"/>
                  <a:pt x="325479" y="0"/>
                </a:cubicBezTo>
                <a:cubicBezTo>
                  <a:pt x="253134" y="0"/>
                  <a:pt x="193586" y="59548"/>
                  <a:pt x="193586" y="131893"/>
                </a:cubicBezTo>
                <a:cubicBezTo>
                  <a:pt x="193586" y="204238"/>
                  <a:pt x="253134" y="263786"/>
                  <a:pt x="325479" y="263786"/>
                </a:cubicBezTo>
                <a:cubicBezTo>
                  <a:pt x="390734" y="263786"/>
                  <a:pt x="444575" y="216978"/>
                  <a:pt x="454547" y="154605"/>
                </a:cubicBezTo>
                <a:cubicBezTo>
                  <a:pt x="455987" y="156045"/>
                  <a:pt x="455987" y="156045"/>
                  <a:pt x="455987" y="157430"/>
                </a:cubicBezTo>
                <a:cubicBezTo>
                  <a:pt x="508444" y="212712"/>
                  <a:pt x="558077" y="276526"/>
                  <a:pt x="583614" y="316241"/>
                </a:cubicBezTo>
                <a:cubicBezTo>
                  <a:pt x="553812" y="316241"/>
                  <a:pt x="514151" y="311976"/>
                  <a:pt x="489998" y="309150"/>
                </a:cubicBezTo>
                <a:cubicBezTo>
                  <a:pt x="457371" y="306325"/>
                  <a:pt x="426184" y="303500"/>
                  <a:pt x="400647" y="303500"/>
                </a:cubicBezTo>
                <a:lnTo>
                  <a:pt x="248927" y="303445"/>
                </a:lnTo>
                <a:cubicBezTo>
                  <a:pt x="138305" y="303445"/>
                  <a:pt x="77311" y="446700"/>
                  <a:pt x="63130" y="501977"/>
                </a:cubicBezTo>
                <a:cubicBezTo>
                  <a:pt x="58921" y="518982"/>
                  <a:pt x="17818" y="663666"/>
                  <a:pt x="2196" y="717511"/>
                </a:cubicBezTo>
                <a:cubicBezTo>
                  <a:pt x="-6334" y="747313"/>
                  <a:pt x="10727" y="778500"/>
                  <a:pt x="40473" y="786974"/>
                </a:cubicBezTo>
                <a:cubicBezTo>
                  <a:pt x="46124" y="788415"/>
                  <a:pt x="50390" y="789799"/>
                  <a:pt x="56095" y="789799"/>
                </a:cubicBezTo>
                <a:cubicBezTo>
                  <a:pt x="80191" y="789799"/>
                  <a:pt x="102903" y="774178"/>
                  <a:pt x="109993" y="748697"/>
                </a:cubicBezTo>
                <a:cubicBezTo>
                  <a:pt x="112819" y="740168"/>
                  <a:pt x="165276" y="552988"/>
                  <a:pt x="172366" y="530341"/>
                </a:cubicBezTo>
                <a:cubicBezTo>
                  <a:pt x="176632" y="513335"/>
                  <a:pt x="185108" y="493448"/>
                  <a:pt x="195078" y="475059"/>
                </a:cubicBezTo>
                <a:lnTo>
                  <a:pt x="200729" y="741672"/>
                </a:lnTo>
                <a:lnTo>
                  <a:pt x="136915" y="1247913"/>
                </a:lnTo>
                <a:cubicBezTo>
                  <a:pt x="132650" y="1283365"/>
                  <a:pt x="158187" y="1317377"/>
                  <a:pt x="193639" y="1321642"/>
                </a:cubicBezTo>
                <a:cubicBezTo>
                  <a:pt x="229091" y="1325908"/>
                  <a:pt x="263102" y="1300371"/>
                  <a:pt x="267368" y="1264919"/>
                </a:cubicBezTo>
                <a:lnTo>
                  <a:pt x="325532" y="804042"/>
                </a:lnTo>
                <a:lnTo>
                  <a:pt x="383696" y="1264919"/>
                </a:lnTo>
                <a:cubicBezTo>
                  <a:pt x="387961" y="1297546"/>
                  <a:pt x="416323" y="1323083"/>
                  <a:pt x="448950" y="1323083"/>
                </a:cubicBezTo>
                <a:lnTo>
                  <a:pt x="457480" y="1323083"/>
                </a:lnTo>
                <a:cubicBezTo>
                  <a:pt x="492932" y="1318818"/>
                  <a:pt x="518469" y="1286190"/>
                  <a:pt x="514203" y="1249354"/>
                </a:cubicBezTo>
                <a:lnTo>
                  <a:pt x="450390" y="743113"/>
                </a:lnTo>
                <a:lnTo>
                  <a:pt x="455985" y="418344"/>
                </a:lnTo>
                <a:cubicBezTo>
                  <a:pt x="463076" y="418344"/>
                  <a:pt x="471607" y="419785"/>
                  <a:pt x="478697" y="421169"/>
                </a:cubicBezTo>
                <a:cubicBezTo>
                  <a:pt x="521240" y="425434"/>
                  <a:pt x="556692" y="428259"/>
                  <a:pt x="587878" y="428259"/>
                </a:cubicBezTo>
                <a:cubicBezTo>
                  <a:pt x="633245" y="428259"/>
                  <a:pt x="665873" y="421169"/>
                  <a:pt x="688585" y="401338"/>
                </a:cubicBezTo>
                <a:cubicBezTo>
                  <a:pt x="702766" y="388598"/>
                  <a:pt x="711297" y="370152"/>
                  <a:pt x="712681" y="350265"/>
                </a:cubicBezTo>
                <a:cubicBezTo>
                  <a:pt x="716891" y="299191"/>
                  <a:pt x="658782" y="207010"/>
                  <a:pt x="539632" y="80829"/>
                </a:cubicBezTo>
                <a:close/>
              </a:path>
            </a:pathLst>
          </a:custGeom>
          <a:solidFill>
            <a:schemeClr val="accent2"/>
          </a:solidFill>
          <a:ln w="12700" cap="flat">
            <a:solidFill>
              <a:schemeClr val="bg1"/>
            </a:solidFill>
            <a:prstDash val="solid"/>
            <a:miter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B375B2F-69F8-A5D7-F40A-B84F9EACAADF}"/>
              </a:ext>
            </a:extLst>
          </p:cNvPr>
          <p:cNvSpPr/>
          <p:nvPr/>
        </p:nvSpPr>
        <p:spPr>
          <a:xfrm>
            <a:off x="101387" y="1829622"/>
            <a:ext cx="191722" cy="346052"/>
          </a:xfrm>
          <a:custGeom>
            <a:avLst/>
            <a:gdLst>
              <a:gd name="connsiteX0" fmla="*/ 131965 w 191722"/>
              <a:gd name="connsiteY0" fmla="*/ 331805 h 346052"/>
              <a:gd name="connsiteX1" fmla="*/ 103603 w 191722"/>
              <a:gd name="connsiteY1" fmla="*/ 209827 h 346052"/>
              <a:gd name="connsiteX2" fmla="*/ 180157 w 191722"/>
              <a:gd name="connsiteY2" fmla="*/ 209827 h 346052"/>
              <a:gd name="connsiteX3" fmla="*/ 191513 w 191722"/>
              <a:gd name="connsiteY3" fmla="*/ 195647 h 346052"/>
              <a:gd name="connsiteX4" fmla="*/ 141880 w 191722"/>
              <a:gd name="connsiteY4" fmla="*/ 8531 h 346052"/>
              <a:gd name="connsiteX5" fmla="*/ 130524 w 191722"/>
              <a:gd name="connsiteY5" fmla="*/ 0 h 346052"/>
              <a:gd name="connsiteX6" fmla="*/ 48264 w 191722"/>
              <a:gd name="connsiteY6" fmla="*/ 0 h 346052"/>
              <a:gd name="connsiteX7" fmla="*/ 38349 w 191722"/>
              <a:gd name="connsiteY7" fmla="*/ 15622 h 346052"/>
              <a:gd name="connsiteX8" fmla="*/ 83716 w 191722"/>
              <a:gd name="connsiteY8" fmla="*/ 130508 h 346052"/>
              <a:gd name="connsiteX9" fmla="*/ 11371 w 191722"/>
              <a:gd name="connsiteY9" fmla="*/ 130508 h 346052"/>
              <a:gd name="connsiteX10" fmla="*/ 1456 w 191722"/>
              <a:gd name="connsiteY10" fmla="*/ 147514 h 346052"/>
              <a:gd name="connsiteX11" fmla="*/ 110637 w 191722"/>
              <a:gd name="connsiteY11" fmla="*/ 340402 h 346052"/>
              <a:gd name="connsiteX12" fmla="*/ 131963 w 191722"/>
              <a:gd name="connsiteY12" fmla="*/ 331816 h 346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91722" h="346052">
                <a:moveTo>
                  <a:pt x="131965" y="331805"/>
                </a:moveTo>
                <a:lnTo>
                  <a:pt x="103603" y="209827"/>
                </a:lnTo>
                <a:lnTo>
                  <a:pt x="180157" y="209827"/>
                </a:lnTo>
                <a:cubicBezTo>
                  <a:pt x="187247" y="209827"/>
                  <a:pt x="192897" y="202737"/>
                  <a:pt x="191513" y="195647"/>
                </a:cubicBezTo>
                <a:lnTo>
                  <a:pt x="141880" y="8531"/>
                </a:lnTo>
                <a:cubicBezTo>
                  <a:pt x="140439" y="2880"/>
                  <a:pt x="136229" y="0"/>
                  <a:pt x="130524" y="0"/>
                </a:cubicBezTo>
                <a:lnTo>
                  <a:pt x="48264" y="0"/>
                </a:lnTo>
                <a:cubicBezTo>
                  <a:pt x="39733" y="0"/>
                  <a:pt x="34083" y="8531"/>
                  <a:pt x="38349" y="15622"/>
                </a:cubicBezTo>
                <a:lnTo>
                  <a:pt x="83716" y="130508"/>
                </a:lnTo>
                <a:lnTo>
                  <a:pt x="11371" y="130508"/>
                </a:lnTo>
                <a:cubicBezTo>
                  <a:pt x="2840" y="130508"/>
                  <a:pt x="-2810" y="140425"/>
                  <a:pt x="1456" y="147514"/>
                </a:cubicBezTo>
                <a:lnTo>
                  <a:pt x="110637" y="340402"/>
                </a:lnTo>
                <a:cubicBezTo>
                  <a:pt x="117783" y="351702"/>
                  <a:pt x="134788" y="344612"/>
                  <a:pt x="131963" y="331816"/>
                </a:cubicBezTo>
                <a:close/>
              </a:path>
            </a:pathLst>
          </a:custGeom>
          <a:solidFill>
            <a:schemeClr val="accent2"/>
          </a:solidFill>
          <a:ln w="1409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76" name="TextBox 2175">
            <a:extLst>
              <a:ext uri="{FF2B5EF4-FFF2-40B4-BE49-F238E27FC236}">
                <a16:creationId xmlns:a16="http://schemas.microsoft.com/office/drawing/2014/main" id="{D42B0022-130F-F24C-823C-54B0D98426C0}"/>
              </a:ext>
            </a:extLst>
          </p:cNvPr>
          <p:cNvSpPr txBox="1"/>
          <p:nvPr/>
        </p:nvSpPr>
        <p:spPr>
          <a:xfrm>
            <a:off x="2852679" y="886711"/>
            <a:ext cx="2491708" cy="438582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meld me zie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(</a:t>
            </a:r>
            <a:r>
              <a:rPr lang="nl-NL" sz="1000" dirty="0">
                <a:solidFill>
                  <a:schemeClr val="accent2"/>
                </a:solidFill>
              </a:rPr>
              <a:t>&lt;</a:t>
            </a:r>
            <a:r>
              <a:rPr kumimoji="0" lang="nl-NL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2 weken)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177" name="TextBox 2176">
            <a:extLst>
              <a:ext uri="{FF2B5EF4-FFF2-40B4-BE49-F238E27FC236}">
                <a16:creationId xmlns:a16="http://schemas.microsoft.com/office/drawing/2014/main" id="{45CD49E9-E541-0913-CED4-80A779C9F449}"/>
              </a:ext>
            </a:extLst>
          </p:cNvPr>
          <p:cNvSpPr txBox="1"/>
          <p:nvPr/>
        </p:nvSpPr>
        <p:spPr>
          <a:xfrm>
            <a:off x="3632852" y="4195935"/>
            <a:ext cx="1565497" cy="461665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ben langer afwezig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179" name="TextBox 2178">
            <a:extLst>
              <a:ext uri="{FF2B5EF4-FFF2-40B4-BE49-F238E27FC236}">
                <a16:creationId xmlns:a16="http://schemas.microsoft.com/office/drawing/2014/main" id="{F659E712-F5E4-162E-4226-6A2B8188B2DE}"/>
              </a:ext>
            </a:extLst>
          </p:cNvPr>
          <p:cNvSpPr txBox="1"/>
          <p:nvPr/>
        </p:nvSpPr>
        <p:spPr>
          <a:xfrm>
            <a:off x="6652728" y="2420843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ga re-integreren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A3BF806B-6335-F870-FF92-362C67EBE68E}"/>
              </a:ext>
            </a:extLst>
          </p:cNvPr>
          <p:cNvGrpSpPr/>
          <p:nvPr/>
        </p:nvGrpSpPr>
        <p:grpSpPr>
          <a:xfrm>
            <a:off x="7442022" y="2677937"/>
            <a:ext cx="1017771" cy="1143845"/>
            <a:chOff x="7480523" y="2428022"/>
            <a:chExt cx="1017771" cy="1143845"/>
          </a:xfrm>
        </p:grpSpPr>
        <p:sp>
          <p:nvSpPr>
            <p:cNvPr id="2181" name="Freeform: Shape 2180">
              <a:extLst>
                <a:ext uri="{FF2B5EF4-FFF2-40B4-BE49-F238E27FC236}">
                  <a16:creationId xmlns:a16="http://schemas.microsoft.com/office/drawing/2014/main" id="{9B3E0567-79DA-E211-1858-E8950CBB70E7}"/>
                </a:ext>
              </a:extLst>
            </p:cNvPr>
            <p:cNvSpPr/>
            <p:nvPr/>
          </p:nvSpPr>
          <p:spPr>
            <a:xfrm>
              <a:off x="8010598" y="3000838"/>
              <a:ext cx="487696" cy="571029"/>
            </a:xfrm>
            <a:custGeom>
              <a:avLst/>
              <a:gdLst>
                <a:gd name="connsiteX0" fmla="*/ 2085535 w 2312706"/>
                <a:gd name="connsiteY0" fmla="*/ 0 h 2707881"/>
                <a:gd name="connsiteX1" fmla="*/ 226903 w 2312706"/>
                <a:gd name="connsiteY1" fmla="*/ 0 h 2707881"/>
                <a:gd name="connsiteX2" fmla="*/ 0 w 2312706"/>
                <a:gd name="connsiteY2" fmla="*/ 226903 h 2707881"/>
                <a:gd name="connsiteX3" fmla="*/ 226903 w 2312706"/>
                <a:gd name="connsiteY3" fmla="*/ 453805 h 2707881"/>
                <a:gd name="connsiteX4" fmla="*/ 1858878 w 2312706"/>
                <a:gd name="connsiteY4" fmla="*/ 453805 h 2707881"/>
                <a:gd name="connsiteX5" fmla="*/ 1858878 w 2312706"/>
                <a:gd name="connsiteY5" fmla="*/ 2480996 h 2707881"/>
                <a:gd name="connsiteX6" fmla="*/ 2085764 w 2312706"/>
                <a:gd name="connsiteY6" fmla="*/ 2707882 h 2707881"/>
                <a:gd name="connsiteX7" fmla="*/ 2312706 w 2312706"/>
                <a:gd name="connsiteY7" fmla="*/ 2480996 h 2707881"/>
                <a:gd name="connsiteX8" fmla="*/ 2312706 w 2312706"/>
                <a:gd name="connsiteY8" fmla="*/ 226977 h 2707881"/>
                <a:gd name="connsiteX9" fmla="*/ 2085764 w 2312706"/>
                <a:gd name="connsiteY9" fmla="*/ 74 h 27078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2706" h="2707881">
                  <a:moveTo>
                    <a:pt x="2085535" y="0"/>
                  </a:moveTo>
                  <a:lnTo>
                    <a:pt x="226903" y="0"/>
                  </a:lnTo>
                  <a:cubicBezTo>
                    <a:pt x="101796" y="0"/>
                    <a:pt x="0" y="101533"/>
                    <a:pt x="0" y="226903"/>
                  </a:cubicBezTo>
                  <a:cubicBezTo>
                    <a:pt x="0" y="352010"/>
                    <a:pt x="101533" y="453805"/>
                    <a:pt x="226903" y="453805"/>
                  </a:cubicBezTo>
                  <a:lnTo>
                    <a:pt x="1858878" y="453805"/>
                  </a:lnTo>
                  <a:lnTo>
                    <a:pt x="1858878" y="2480996"/>
                  </a:lnTo>
                  <a:cubicBezTo>
                    <a:pt x="1858878" y="2606097"/>
                    <a:pt x="1960434" y="2707882"/>
                    <a:pt x="2085764" y="2707882"/>
                  </a:cubicBezTo>
                  <a:cubicBezTo>
                    <a:pt x="2210865" y="2707882"/>
                    <a:pt x="2312706" y="2606326"/>
                    <a:pt x="2312706" y="2480996"/>
                  </a:cubicBezTo>
                  <a:lnTo>
                    <a:pt x="2312706" y="226977"/>
                  </a:lnTo>
                  <a:cubicBezTo>
                    <a:pt x="2312706" y="101870"/>
                    <a:pt x="2211151" y="74"/>
                    <a:pt x="2085764" y="74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rgbClr val="E8EBF0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2182" name="Freeform: Shape 2181">
              <a:extLst>
                <a:ext uri="{FF2B5EF4-FFF2-40B4-BE49-F238E27FC236}">
                  <a16:creationId xmlns:a16="http://schemas.microsoft.com/office/drawing/2014/main" id="{B252FD86-C6E4-9D38-0EE0-F858857B71BF}"/>
                </a:ext>
              </a:extLst>
            </p:cNvPr>
            <p:cNvSpPr/>
            <p:nvPr/>
          </p:nvSpPr>
          <p:spPr>
            <a:xfrm>
              <a:off x="7581682" y="2428022"/>
              <a:ext cx="275747" cy="275747"/>
            </a:xfrm>
            <a:custGeom>
              <a:avLst/>
              <a:gdLst>
                <a:gd name="connsiteX0" fmla="*/ 583061 w 1307624"/>
                <a:gd name="connsiteY0" fmla="*/ 1303722 h 1307624"/>
                <a:gd name="connsiteX1" fmla="*/ 1303722 w 1307624"/>
                <a:gd name="connsiteY1" fmla="*/ 724564 h 1307624"/>
                <a:gd name="connsiteX2" fmla="*/ 724564 w 1307624"/>
                <a:gd name="connsiteY2" fmla="*/ 3903 h 1307624"/>
                <a:gd name="connsiteX3" fmla="*/ 3903 w 1307624"/>
                <a:gd name="connsiteY3" fmla="*/ 583061 h 1307624"/>
                <a:gd name="connsiteX4" fmla="*/ 583061 w 1307624"/>
                <a:gd name="connsiteY4" fmla="*/ 1303722 h 1307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7624" h="1307624">
                  <a:moveTo>
                    <a:pt x="583061" y="1303722"/>
                  </a:moveTo>
                  <a:cubicBezTo>
                    <a:pt x="942031" y="1342836"/>
                    <a:pt x="1264575" y="1083518"/>
                    <a:pt x="1303722" y="724564"/>
                  </a:cubicBezTo>
                  <a:cubicBezTo>
                    <a:pt x="1342836" y="365594"/>
                    <a:pt x="1083518" y="43050"/>
                    <a:pt x="724564" y="3903"/>
                  </a:cubicBezTo>
                  <a:cubicBezTo>
                    <a:pt x="365594" y="-35211"/>
                    <a:pt x="43050" y="224107"/>
                    <a:pt x="3903" y="583061"/>
                  </a:cubicBezTo>
                  <a:cubicBezTo>
                    <a:pt x="-35211" y="942031"/>
                    <a:pt x="224107" y="1264575"/>
                    <a:pt x="583061" y="1303722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rgbClr val="E8EBF0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2184" name="Freeform: Shape 2183">
              <a:extLst>
                <a:ext uri="{FF2B5EF4-FFF2-40B4-BE49-F238E27FC236}">
                  <a16:creationId xmlns:a16="http://schemas.microsoft.com/office/drawing/2014/main" id="{D7D02724-241F-3AC5-562C-AAA0DB2E6EF3}"/>
                </a:ext>
              </a:extLst>
            </p:cNvPr>
            <p:cNvSpPr/>
            <p:nvPr/>
          </p:nvSpPr>
          <p:spPr>
            <a:xfrm>
              <a:off x="7480523" y="2727886"/>
              <a:ext cx="607765" cy="841137"/>
            </a:xfrm>
            <a:custGeom>
              <a:avLst/>
              <a:gdLst>
                <a:gd name="connsiteX0" fmla="*/ 1835665 w 2882089"/>
                <a:gd name="connsiteY0" fmla="*/ 1542686 h 3988762"/>
                <a:gd name="connsiteX1" fmla="*/ 1240962 w 2882089"/>
                <a:gd name="connsiteY1" fmla="*/ 1542686 h 3988762"/>
                <a:gd name="connsiteX2" fmla="*/ 1395804 w 2882089"/>
                <a:gd name="connsiteY2" fmla="*/ 835226 h 3988762"/>
                <a:gd name="connsiteX3" fmla="*/ 1815319 w 2882089"/>
                <a:gd name="connsiteY3" fmla="*/ 1037485 h 3988762"/>
                <a:gd name="connsiteX4" fmla="*/ 1946587 w 2882089"/>
                <a:gd name="connsiteY4" fmla="*/ 1067489 h 3988762"/>
                <a:gd name="connsiteX5" fmla="*/ 1959983 w 2882089"/>
                <a:gd name="connsiteY5" fmla="*/ 1067221 h 3988762"/>
                <a:gd name="connsiteX6" fmla="*/ 2593262 w 2882089"/>
                <a:gd name="connsiteY6" fmla="*/ 1038823 h 3988762"/>
                <a:gd name="connsiteX7" fmla="*/ 2881778 w 2882089"/>
                <a:gd name="connsiteY7" fmla="*/ 722977 h 3988762"/>
                <a:gd name="connsiteX8" fmla="*/ 2566202 w 2882089"/>
                <a:gd name="connsiteY8" fmla="*/ 434461 h 3988762"/>
                <a:gd name="connsiteX9" fmla="*/ 2009258 w 2882089"/>
                <a:gd name="connsiteY9" fmla="*/ 459379 h 3988762"/>
                <a:gd name="connsiteX10" fmla="*/ 1297169 w 2882089"/>
                <a:gd name="connsiteY10" fmla="*/ 110318 h 3988762"/>
                <a:gd name="connsiteX11" fmla="*/ 849256 w 2882089"/>
                <a:gd name="connsiteY11" fmla="*/ 11197 h 3988762"/>
                <a:gd name="connsiteX12" fmla="*/ 483850 w 2882089"/>
                <a:gd name="connsiteY12" fmla="*/ 77902 h 3988762"/>
                <a:gd name="connsiteX13" fmla="*/ 274092 w 2882089"/>
                <a:gd name="connsiteY13" fmla="*/ 384369 h 3988762"/>
                <a:gd name="connsiteX14" fmla="*/ 9950 w 2882089"/>
                <a:gd name="connsiteY14" fmla="*/ 1652814 h 3988762"/>
                <a:gd name="connsiteX15" fmla="*/ 105854 w 2882089"/>
                <a:gd name="connsiteY15" fmla="*/ 2046343 h 3988762"/>
                <a:gd name="connsiteX16" fmla="*/ 471523 w 2882089"/>
                <a:gd name="connsiteY16" fmla="*/ 2220205 h 3988762"/>
                <a:gd name="connsiteX17" fmla="*/ 1521425 w 2882089"/>
                <a:gd name="connsiteY17" fmla="*/ 2220205 h 3988762"/>
                <a:gd name="connsiteX18" fmla="*/ 1643852 w 2882089"/>
                <a:gd name="connsiteY18" fmla="*/ 2342631 h 3988762"/>
                <a:gd name="connsiteX19" fmla="*/ 1643852 w 2882089"/>
                <a:gd name="connsiteY19" fmla="*/ 3649863 h 3988762"/>
                <a:gd name="connsiteX20" fmla="*/ 1983003 w 2882089"/>
                <a:gd name="connsiteY20" fmla="*/ 3988762 h 3988762"/>
                <a:gd name="connsiteX21" fmla="*/ 2321885 w 2882089"/>
                <a:gd name="connsiteY21" fmla="*/ 3649863 h 3988762"/>
                <a:gd name="connsiteX22" fmla="*/ 2321885 w 2882089"/>
                <a:gd name="connsiteY22" fmla="*/ 2028306 h 3988762"/>
                <a:gd name="connsiteX23" fmla="*/ 1835665 w 2882089"/>
                <a:gd name="connsiteY23" fmla="*/ 1541817 h 398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82089" h="3988762">
                  <a:moveTo>
                    <a:pt x="1835665" y="1542686"/>
                  </a:moveTo>
                  <a:lnTo>
                    <a:pt x="1240962" y="1542686"/>
                  </a:lnTo>
                  <a:lnTo>
                    <a:pt x="1395804" y="835226"/>
                  </a:lnTo>
                  <a:lnTo>
                    <a:pt x="1815319" y="1037485"/>
                  </a:lnTo>
                  <a:cubicBezTo>
                    <a:pt x="1856307" y="1057311"/>
                    <a:pt x="1901313" y="1067489"/>
                    <a:pt x="1946587" y="1067489"/>
                  </a:cubicBezTo>
                  <a:cubicBezTo>
                    <a:pt x="1951142" y="1067489"/>
                    <a:pt x="1955697" y="1067221"/>
                    <a:pt x="1959983" y="1067221"/>
                  </a:cubicBezTo>
                  <a:lnTo>
                    <a:pt x="2593262" y="1038823"/>
                  </a:lnTo>
                  <a:cubicBezTo>
                    <a:pt x="2760157" y="1031325"/>
                    <a:pt x="2889282" y="889878"/>
                    <a:pt x="2881778" y="722977"/>
                  </a:cubicBezTo>
                  <a:cubicBezTo>
                    <a:pt x="2874275" y="556351"/>
                    <a:pt x="2731491" y="427226"/>
                    <a:pt x="2566202" y="434461"/>
                  </a:cubicBezTo>
                  <a:lnTo>
                    <a:pt x="2009258" y="459379"/>
                  </a:lnTo>
                  <a:cubicBezTo>
                    <a:pt x="2009258" y="459379"/>
                    <a:pt x="1375407" y="128800"/>
                    <a:pt x="1297169" y="110318"/>
                  </a:cubicBezTo>
                  <a:cubicBezTo>
                    <a:pt x="1209032" y="89687"/>
                    <a:pt x="849256" y="11197"/>
                    <a:pt x="849256" y="11197"/>
                  </a:cubicBezTo>
                  <a:cubicBezTo>
                    <a:pt x="722543" y="-16395"/>
                    <a:pt x="592618" y="7442"/>
                    <a:pt x="483850" y="77902"/>
                  </a:cubicBezTo>
                  <a:cubicBezTo>
                    <a:pt x="375088" y="148626"/>
                    <a:pt x="300615" y="257388"/>
                    <a:pt x="274092" y="384369"/>
                  </a:cubicBezTo>
                  <a:lnTo>
                    <a:pt x="9950" y="1652814"/>
                  </a:lnTo>
                  <a:cubicBezTo>
                    <a:pt x="-18984" y="1792385"/>
                    <a:pt x="15843" y="1935706"/>
                    <a:pt x="105854" y="2046343"/>
                  </a:cubicBezTo>
                  <a:cubicBezTo>
                    <a:pt x="195865" y="2156979"/>
                    <a:pt x="329008" y="2220205"/>
                    <a:pt x="471523" y="2220205"/>
                  </a:cubicBezTo>
                  <a:lnTo>
                    <a:pt x="1521425" y="2220205"/>
                  </a:lnTo>
                  <a:cubicBezTo>
                    <a:pt x="1588931" y="2220205"/>
                    <a:pt x="1643852" y="2275120"/>
                    <a:pt x="1643852" y="2342631"/>
                  </a:cubicBezTo>
                  <a:lnTo>
                    <a:pt x="1643852" y="3649863"/>
                  </a:lnTo>
                  <a:cubicBezTo>
                    <a:pt x="1643852" y="3837144"/>
                    <a:pt x="1795476" y="3988762"/>
                    <a:pt x="1983003" y="3988762"/>
                  </a:cubicBezTo>
                  <a:cubicBezTo>
                    <a:pt x="2170261" y="3988762"/>
                    <a:pt x="2321885" y="3836858"/>
                    <a:pt x="2321885" y="3649863"/>
                  </a:cubicBezTo>
                  <a:lnTo>
                    <a:pt x="2321885" y="2028306"/>
                  </a:lnTo>
                  <a:cubicBezTo>
                    <a:pt x="2321885" y="1759610"/>
                    <a:pt x="2104092" y="1541817"/>
                    <a:pt x="1835665" y="1541817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rgbClr val="E8EBF0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E852557D-437E-15C4-1C47-1BC78A2B66CA}"/>
              </a:ext>
            </a:extLst>
          </p:cNvPr>
          <p:cNvGrpSpPr/>
          <p:nvPr/>
        </p:nvGrpSpPr>
        <p:grpSpPr>
          <a:xfrm>
            <a:off x="7216388" y="2917339"/>
            <a:ext cx="1237998" cy="904383"/>
            <a:chOff x="7254889" y="2667424"/>
            <a:chExt cx="1237998" cy="904383"/>
          </a:xfr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83" name="Freeform: Shape 2182">
              <a:extLst>
                <a:ext uri="{FF2B5EF4-FFF2-40B4-BE49-F238E27FC236}">
                  <a16:creationId xmlns:a16="http://schemas.microsoft.com/office/drawing/2014/main" id="{A8940350-D8AF-C857-07BD-506C607F8FBC}"/>
                </a:ext>
              </a:extLst>
            </p:cNvPr>
            <p:cNvSpPr/>
            <p:nvPr/>
          </p:nvSpPr>
          <p:spPr>
            <a:xfrm>
              <a:off x="7254889" y="2751204"/>
              <a:ext cx="518156" cy="820603"/>
            </a:xfrm>
            <a:custGeom>
              <a:avLst/>
              <a:gdLst>
                <a:gd name="connsiteX0" fmla="*/ 2163266 w 2457154"/>
                <a:gd name="connsiteY0" fmla="*/ 2385543 h 3891388"/>
                <a:gd name="connsiteX1" fmla="*/ 1221377 w 2457154"/>
                <a:gd name="connsiteY1" fmla="*/ 2385543 h 3891388"/>
                <a:gd name="connsiteX2" fmla="*/ 772395 w 2457154"/>
                <a:gd name="connsiteY2" fmla="*/ 2008890 h 3891388"/>
                <a:gd name="connsiteX3" fmla="*/ 450121 w 2457154"/>
                <a:gd name="connsiteY3" fmla="*/ 187463 h 3891388"/>
                <a:gd name="connsiteX4" fmla="*/ 187322 w 2457154"/>
                <a:gd name="connsiteY4" fmla="*/ 3691 h 3891388"/>
                <a:gd name="connsiteX5" fmla="*/ 3551 w 2457154"/>
                <a:gd name="connsiteY5" fmla="*/ 266490 h 3891388"/>
                <a:gd name="connsiteX6" fmla="*/ 325825 w 2457154"/>
                <a:gd name="connsiteY6" fmla="*/ 2087917 h 3891388"/>
                <a:gd name="connsiteX7" fmla="*/ 1221423 w 2457154"/>
                <a:gd name="connsiteY7" fmla="*/ 2839097 h 3891388"/>
                <a:gd name="connsiteX8" fmla="*/ 2003349 w 2457154"/>
                <a:gd name="connsiteY8" fmla="*/ 2839097 h 3891388"/>
                <a:gd name="connsiteX9" fmla="*/ 2003349 w 2457154"/>
                <a:gd name="connsiteY9" fmla="*/ 3664446 h 3891388"/>
                <a:gd name="connsiteX10" fmla="*/ 2230252 w 2457154"/>
                <a:gd name="connsiteY10" fmla="*/ 3891389 h 3891388"/>
                <a:gd name="connsiteX11" fmla="*/ 2457155 w 2457154"/>
                <a:gd name="connsiteY11" fmla="*/ 3664446 h 3891388"/>
                <a:gd name="connsiteX12" fmla="*/ 2457155 w 2457154"/>
                <a:gd name="connsiteY12" fmla="*/ 2679191 h 3891388"/>
                <a:gd name="connsiteX13" fmla="*/ 2163547 w 2457154"/>
                <a:gd name="connsiteY13" fmla="*/ 2385583 h 3891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57154" h="3891388">
                  <a:moveTo>
                    <a:pt x="2163266" y="2385543"/>
                  </a:moveTo>
                  <a:lnTo>
                    <a:pt x="1221377" y="2385543"/>
                  </a:lnTo>
                  <a:cubicBezTo>
                    <a:pt x="999830" y="2385543"/>
                    <a:pt x="810972" y="2227221"/>
                    <a:pt x="772395" y="2008890"/>
                  </a:cubicBezTo>
                  <a:lnTo>
                    <a:pt x="450121" y="187463"/>
                  </a:lnTo>
                  <a:cubicBezTo>
                    <a:pt x="428421" y="63967"/>
                    <a:pt x="310549" y="-18815"/>
                    <a:pt x="187322" y="3691"/>
                  </a:cubicBezTo>
                  <a:cubicBezTo>
                    <a:pt x="63827" y="25391"/>
                    <a:pt x="-18418" y="142994"/>
                    <a:pt x="3551" y="266490"/>
                  </a:cubicBezTo>
                  <a:lnTo>
                    <a:pt x="325825" y="2087917"/>
                  </a:lnTo>
                  <a:cubicBezTo>
                    <a:pt x="402978" y="2522972"/>
                    <a:pt x="779631" y="2839097"/>
                    <a:pt x="1221423" y="2839097"/>
                  </a:cubicBezTo>
                  <a:lnTo>
                    <a:pt x="2003349" y="2839097"/>
                  </a:lnTo>
                  <a:lnTo>
                    <a:pt x="2003349" y="3664446"/>
                  </a:lnTo>
                  <a:cubicBezTo>
                    <a:pt x="2003349" y="3789547"/>
                    <a:pt x="2104882" y="3891389"/>
                    <a:pt x="2230252" y="3891389"/>
                  </a:cubicBezTo>
                  <a:cubicBezTo>
                    <a:pt x="2355622" y="3891389"/>
                    <a:pt x="2457155" y="3789833"/>
                    <a:pt x="2457155" y="3664446"/>
                  </a:cubicBezTo>
                  <a:lnTo>
                    <a:pt x="2457155" y="2679191"/>
                  </a:lnTo>
                  <a:cubicBezTo>
                    <a:pt x="2457155" y="2517120"/>
                    <a:pt x="2325355" y="2385583"/>
                    <a:pt x="2163547" y="2385583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2185" name="Freeform: Shape 2184">
              <a:extLst>
                <a:ext uri="{FF2B5EF4-FFF2-40B4-BE49-F238E27FC236}">
                  <a16:creationId xmlns:a16="http://schemas.microsoft.com/office/drawing/2014/main" id="{5BA1C8E4-9310-D046-0B67-692D5CE255F4}"/>
                </a:ext>
              </a:extLst>
            </p:cNvPr>
            <p:cNvSpPr/>
            <p:nvPr/>
          </p:nvSpPr>
          <p:spPr>
            <a:xfrm>
              <a:off x="8145344" y="2667424"/>
              <a:ext cx="347543" cy="278334"/>
            </a:xfrm>
            <a:custGeom>
              <a:avLst/>
              <a:gdLst>
                <a:gd name="connsiteX0" fmla="*/ 1349403 w 1648088"/>
                <a:gd name="connsiteY0" fmla="*/ 116789 h 1319888"/>
                <a:gd name="connsiteX1" fmla="*/ 1138291 w 1648088"/>
                <a:gd name="connsiteY1" fmla="*/ 1017702 h 1319888"/>
                <a:gd name="connsiteX2" fmla="*/ 151093 w 1648088"/>
                <a:gd name="connsiteY2" fmla="*/ 1017702 h 1319888"/>
                <a:gd name="connsiteX3" fmla="*/ 0 w 1648088"/>
                <a:gd name="connsiteY3" fmla="*/ 1168795 h 1319888"/>
                <a:gd name="connsiteX4" fmla="*/ 151093 w 1648088"/>
                <a:gd name="connsiteY4" fmla="*/ 1319888 h 1319888"/>
                <a:gd name="connsiteX5" fmla="*/ 1258306 w 1648088"/>
                <a:gd name="connsiteY5" fmla="*/ 1319888 h 1319888"/>
                <a:gd name="connsiteX6" fmla="*/ 1405639 w 1648088"/>
                <a:gd name="connsiteY6" fmla="*/ 1203354 h 1319888"/>
                <a:gd name="connsiteX7" fmla="*/ 1644069 w 1648088"/>
                <a:gd name="connsiteY7" fmla="*/ 185912 h 1319888"/>
                <a:gd name="connsiteX8" fmla="*/ 1531312 w 1648088"/>
                <a:gd name="connsiteY8" fmla="*/ 4015 h 1319888"/>
                <a:gd name="connsiteX9" fmla="*/ 1349689 w 1648088"/>
                <a:gd name="connsiteY9" fmla="*/ 116795 h 1319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8088" h="1319888">
                  <a:moveTo>
                    <a:pt x="1349403" y="116789"/>
                  </a:moveTo>
                  <a:lnTo>
                    <a:pt x="1138291" y="1017702"/>
                  </a:lnTo>
                  <a:lnTo>
                    <a:pt x="151093" y="1017702"/>
                  </a:lnTo>
                  <a:cubicBezTo>
                    <a:pt x="67511" y="1017702"/>
                    <a:pt x="0" y="1085207"/>
                    <a:pt x="0" y="1168795"/>
                  </a:cubicBezTo>
                  <a:cubicBezTo>
                    <a:pt x="0" y="1252383"/>
                    <a:pt x="67506" y="1319888"/>
                    <a:pt x="151093" y="1319888"/>
                  </a:cubicBezTo>
                  <a:lnTo>
                    <a:pt x="1258306" y="1319888"/>
                  </a:lnTo>
                  <a:cubicBezTo>
                    <a:pt x="1328486" y="1319888"/>
                    <a:pt x="1389579" y="1271671"/>
                    <a:pt x="1405639" y="1203354"/>
                  </a:cubicBezTo>
                  <a:lnTo>
                    <a:pt x="1644069" y="185912"/>
                  </a:lnTo>
                  <a:cubicBezTo>
                    <a:pt x="1663099" y="104473"/>
                    <a:pt x="1612750" y="23303"/>
                    <a:pt x="1531312" y="4015"/>
                  </a:cubicBezTo>
                  <a:cubicBezTo>
                    <a:pt x="1449073" y="-15004"/>
                    <a:pt x="1368662" y="35356"/>
                    <a:pt x="1349689" y="116795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pic>
        <p:nvPicPr>
          <p:cNvPr id="2192" name="Graphic 2191">
            <a:extLst>
              <a:ext uri="{FF2B5EF4-FFF2-40B4-BE49-F238E27FC236}">
                <a16:creationId xmlns:a16="http://schemas.microsoft.com/office/drawing/2014/main" id="{469D0AB1-6AF9-9A56-BE6D-269B8E132067}"/>
              </a:ext>
            </a:extLst>
          </p:cNvPr>
          <p:cNvPicPr>
            <a:picLocks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146510" y="4390909"/>
            <a:ext cx="1453322" cy="14533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95" name="TextBox 2194">
            <a:extLst>
              <a:ext uri="{FF2B5EF4-FFF2-40B4-BE49-F238E27FC236}">
                <a16:creationId xmlns:a16="http://schemas.microsoft.com/office/drawing/2014/main" id="{FB9E25D6-4D94-4271-5375-A31A9E094B99}"/>
              </a:ext>
            </a:extLst>
          </p:cNvPr>
          <p:cNvSpPr txBox="1"/>
          <p:nvPr/>
        </p:nvSpPr>
        <p:spPr>
          <a:xfrm>
            <a:off x="-14716" y="4377346"/>
            <a:ext cx="1212364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ervaar klachten (en bespreek ze met mijn leidinggevende)</a:t>
            </a:r>
            <a:endParaRPr lang="en-US" sz="1050"/>
          </a:p>
        </p:txBody>
      </p:sp>
      <p:sp>
        <p:nvSpPr>
          <p:cNvPr id="2196" name="Freeform 754">
            <a:extLst>
              <a:ext uri="{FF2B5EF4-FFF2-40B4-BE49-F238E27FC236}">
                <a16:creationId xmlns:a16="http://schemas.microsoft.com/office/drawing/2014/main" id="{061E9BB5-2FF4-B717-365A-A16FBA46467C}"/>
              </a:ext>
            </a:extLst>
          </p:cNvPr>
          <p:cNvSpPr/>
          <p:nvPr/>
        </p:nvSpPr>
        <p:spPr>
          <a:xfrm rot="18190455" flipH="1" flipV="1">
            <a:off x="35684" y="3531039"/>
            <a:ext cx="889952" cy="58179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97" name="TextBox 2196">
            <a:extLst>
              <a:ext uri="{FF2B5EF4-FFF2-40B4-BE49-F238E27FC236}">
                <a16:creationId xmlns:a16="http://schemas.microsoft.com/office/drawing/2014/main" id="{F583DBD2-CAB3-5D98-AE81-9E450734F418}"/>
              </a:ext>
            </a:extLst>
          </p:cNvPr>
          <p:cNvSpPr txBox="1"/>
          <p:nvPr/>
        </p:nvSpPr>
        <p:spPr>
          <a:xfrm>
            <a:off x="994338" y="1710704"/>
            <a:ext cx="1053428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ga preventief naar de bedrijfsarts</a:t>
            </a:r>
          </a:p>
        </p:txBody>
      </p:sp>
      <p:sp>
        <p:nvSpPr>
          <p:cNvPr id="2198" name="Freeform 754">
            <a:extLst>
              <a:ext uri="{FF2B5EF4-FFF2-40B4-BE49-F238E27FC236}">
                <a16:creationId xmlns:a16="http://schemas.microsoft.com/office/drawing/2014/main" id="{787B7B2A-2B67-C55E-5B3F-268575DAFB67}"/>
              </a:ext>
            </a:extLst>
          </p:cNvPr>
          <p:cNvSpPr/>
          <p:nvPr/>
        </p:nvSpPr>
        <p:spPr>
          <a:xfrm rot="21252582" flipH="1">
            <a:off x="1507486" y="2290137"/>
            <a:ext cx="456734" cy="3087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199" name="TextBox 2198">
            <a:extLst>
              <a:ext uri="{FF2B5EF4-FFF2-40B4-BE49-F238E27FC236}">
                <a16:creationId xmlns:a16="http://schemas.microsoft.com/office/drawing/2014/main" id="{8CF3CD8B-68FE-8FB8-5136-C67934E19D7D}"/>
              </a:ext>
            </a:extLst>
          </p:cNvPr>
          <p:cNvSpPr txBox="1"/>
          <p:nvPr/>
        </p:nvSpPr>
        <p:spPr>
          <a:xfrm>
            <a:off x="707964" y="3740329"/>
            <a:ext cx="105812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derneem actie om me beter te voelen</a:t>
            </a:r>
          </a:p>
          <a:p>
            <a:pPr algn="ctr"/>
            <a:endParaRPr lang="en-US" sz="1050"/>
          </a:p>
        </p:txBody>
      </p:sp>
      <p:sp>
        <p:nvSpPr>
          <p:cNvPr id="2200" name="Freeform 754">
            <a:extLst>
              <a:ext uri="{FF2B5EF4-FFF2-40B4-BE49-F238E27FC236}">
                <a16:creationId xmlns:a16="http://schemas.microsoft.com/office/drawing/2014/main" id="{5374ABEC-3883-7F42-9CD1-93E8CFEDD8C0}"/>
              </a:ext>
            </a:extLst>
          </p:cNvPr>
          <p:cNvSpPr/>
          <p:nvPr/>
        </p:nvSpPr>
        <p:spPr>
          <a:xfrm rot="17474487" flipH="1" flipV="1">
            <a:off x="1060371" y="3493761"/>
            <a:ext cx="498733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01" name="TextBox 2200">
            <a:extLst>
              <a:ext uri="{FF2B5EF4-FFF2-40B4-BE49-F238E27FC236}">
                <a16:creationId xmlns:a16="http://schemas.microsoft.com/office/drawing/2014/main" id="{F3CDF07F-8E58-B72F-7931-B2A42B238079}"/>
              </a:ext>
            </a:extLst>
          </p:cNvPr>
          <p:cNvSpPr txBox="1"/>
          <p:nvPr/>
        </p:nvSpPr>
        <p:spPr>
          <a:xfrm>
            <a:off x="1266034" y="1014900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maak gebruik van preventieve ondersteuning</a:t>
            </a:r>
          </a:p>
        </p:txBody>
      </p:sp>
      <p:sp>
        <p:nvSpPr>
          <p:cNvPr id="2202" name="Freeform 754">
            <a:extLst>
              <a:ext uri="{FF2B5EF4-FFF2-40B4-BE49-F238E27FC236}">
                <a16:creationId xmlns:a16="http://schemas.microsoft.com/office/drawing/2014/main" id="{A0739338-D027-6013-5CA1-FA02E9463EB4}"/>
              </a:ext>
            </a:extLst>
          </p:cNvPr>
          <p:cNvSpPr/>
          <p:nvPr/>
        </p:nvSpPr>
        <p:spPr>
          <a:xfrm rot="20331072" flipH="1">
            <a:off x="2093313" y="1559692"/>
            <a:ext cx="227123" cy="415350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03" name="TextBox 2202">
            <a:extLst>
              <a:ext uri="{FF2B5EF4-FFF2-40B4-BE49-F238E27FC236}">
                <a16:creationId xmlns:a16="http://schemas.microsoft.com/office/drawing/2014/main" id="{8CE95664-EE57-C8D1-8FA9-831D33C233E3}"/>
              </a:ext>
            </a:extLst>
          </p:cNvPr>
          <p:cNvSpPr txBox="1"/>
          <p:nvPr/>
        </p:nvSpPr>
        <p:spPr>
          <a:xfrm>
            <a:off x="3359157" y="1614651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meld me ziek bij mijn leidinggevende</a:t>
            </a:r>
          </a:p>
        </p:txBody>
      </p:sp>
      <p:sp>
        <p:nvSpPr>
          <p:cNvPr id="2204" name="TextBox 2203">
            <a:extLst>
              <a:ext uri="{FF2B5EF4-FFF2-40B4-BE49-F238E27FC236}">
                <a16:creationId xmlns:a16="http://schemas.microsoft.com/office/drawing/2014/main" id="{8DBD67B3-F7AD-8978-4628-A1EFEB716B90}"/>
              </a:ext>
            </a:extLst>
          </p:cNvPr>
          <p:cNvSpPr txBox="1"/>
          <p:nvPr/>
        </p:nvSpPr>
        <p:spPr>
          <a:xfrm>
            <a:off x="3632852" y="2155728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word gecontacteerd door de arbodienst</a:t>
            </a:r>
            <a:br>
              <a:rPr lang="nl-NL" sz="1050" dirty="0"/>
            </a:br>
            <a:r>
              <a:rPr lang="nl-NL" sz="1050" i="1" dirty="0"/>
              <a:t>(intake)</a:t>
            </a:r>
            <a:endParaRPr lang="nl-NL" sz="1050" dirty="0"/>
          </a:p>
        </p:txBody>
      </p:sp>
      <p:sp>
        <p:nvSpPr>
          <p:cNvPr id="2205" name="TextBox 2204">
            <a:extLst>
              <a:ext uri="{FF2B5EF4-FFF2-40B4-BE49-F238E27FC236}">
                <a16:creationId xmlns:a16="http://schemas.microsoft.com/office/drawing/2014/main" id="{0932F2E3-38F2-E1BE-C186-90A89005E922}"/>
              </a:ext>
            </a:extLst>
          </p:cNvPr>
          <p:cNvSpPr txBox="1"/>
          <p:nvPr/>
        </p:nvSpPr>
        <p:spPr>
          <a:xfrm>
            <a:off x="3609696" y="2867616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leidinggevende</a:t>
            </a:r>
          </a:p>
        </p:txBody>
      </p:sp>
      <p:sp>
        <p:nvSpPr>
          <p:cNvPr id="2206" name="TextBox 2205">
            <a:extLst>
              <a:ext uri="{FF2B5EF4-FFF2-40B4-BE49-F238E27FC236}">
                <a16:creationId xmlns:a16="http://schemas.microsoft.com/office/drawing/2014/main" id="{1C11D757-E16F-A5B4-A00C-F28E7B0E6C99}"/>
              </a:ext>
            </a:extLst>
          </p:cNvPr>
          <p:cNvSpPr txBox="1"/>
          <p:nvPr/>
        </p:nvSpPr>
        <p:spPr>
          <a:xfrm>
            <a:off x="2008118" y="3065314"/>
            <a:ext cx="1173475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teamleden</a:t>
            </a:r>
          </a:p>
        </p:txBody>
      </p:sp>
      <p:sp>
        <p:nvSpPr>
          <p:cNvPr id="2207" name="TextBox 2206">
            <a:extLst>
              <a:ext uri="{FF2B5EF4-FFF2-40B4-BE49-F238E27FC236}">
                <a16:creationId xmlns:a16="http://schemas.microsoft.com/office/drawing/2014/main" id="{0D5FB5F5-03E0-76B8-946E-CB96EDEBB0ED}"/>
              </a:ext>
            </a:extLst>
          </p:cNvPr>
          <p:cNvSpPr txBox="1"/>
          <p:nvPr/>
        </p:nvSpPr>
        <p:spPr>
          <a:xfrm>
            <a:off x="2026035" y="3863068"/>
            <a:ext cx="117347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n bezig met mijn herstel</a:t>
            </a:r>
          </a:p>
        </p:txBody>
      </p:sp>
      <p:sp>
        <p:nvSpPr>
          <p:cNvPr id="2208" name="TextBox 2207">
            <a:extLst>
              <a:ext uri="{FF2B5EF4-FFF2-40B4-BE49-F238E27FC236}">
                <a16:creationId xmlns:a16="http://schemas.microsoft.com/office/drawing/2014/main" id="{D4C55F4C-6EB0-9758-D1D3-AF79FCE3171B}"/>
              </a:ext>
            </a:extLst>
          </p:cNvPr>
          <p:cNvSpPr txBox="1"/>
          <p:nvPr/>
        </p:nvSpPr>
        <p:spPr>
          <a:xfrm>
            <a:off x="2421810" y="4429148"/>
            <a:ext cx="6935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meld me beter</a:t>
            </a:r>
          </a:p>
        </p:txBody>
      </p:sp>
      <p:sp>
        <p:nvSpPr>
          <p:cNvPr id="2210" name="TextBox 2209">
            <a:extLst>
              <a:ext uri="{FF2B5EF4-FFF2-40B4-BE49-F238E27FC236}">
                <a16:creationId xmlns:a16="http://schemas.microsoft.com/office/drawing/2014/main" id="{EE3F7AEC-AEA5-EF74-78E1-A88354485A3C}"/>
              </a:ext>
            </a:extLst>
          </p:cNvPr>
          <p:cNvSpPr txBox="1"/>
          <p:nvPr/>
        </p:nvSpPr>
        <p:spPr>
          <a:xfrm>
            <a:off x="1822875" y="5777172"/>
            <a:ext cx="1456073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een gesprek omdat ik een aantal keer ziek ben geweest</a:t>
            </a:r>
          </a:p>
        </p:txBody>
      </p:sp>
      <p:sp>
        <p:nvSpPr>
          <p:cNvPr id="2213" name="TextBox 2212">
            <a:extLst>
              <a:ext uri="{FF2B5EF4-FFF2-40B4-BE49-F238E27FC236}">
                <a16:creationId xmlns:a16="http://schemas.microsoft.com/office/drawing/2014/main" id="{F2744861-3F23-D3FC-E9C7-B5F3EFAA2598}"/>
              </a:ext>
            </a:extLst>
          </p:cNvPr>
          <p:cNvSpPr txBox="1"/>
          <p:nvPr/>
        </p:nvSpPr>
        <p:spPr>
          <a:xfrm>
            <a:off x="3907997" y="6155950"/>
            <a:ext cx="132057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ga periodiek naar de bedrijfsarts</a:t>
            </a:r>
          </a:p>
        </p:txBody>
      </p:sp>
      <p:sp>
        <p:nvSpPr>
          <p:cNvPr id="2214" name="TextBox 2213">
            <a:extLst>
              <a:ext uri="{FF2B5EF4-FFF2-40B4-BE49-F238E27FC236}">
                <a16:creationId xmlns:a16="http://schemas.microsoft.com/office/drawing/2014/main" id="{F7436DFB-8489-93DD-653A-39F04092273F}"/>
              </a:ext>
            </a:extLst>
          </p:cNvPr>
          <p:cNvSpPr txBox="1"/>
          <p:nvPr/>
        </p:nvSpPr>
        <p:spPr>
          <a:xfrm>
            <a:off x="4439850" y="4737012"/>
            <a:ext cx="1028817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Mijn leidinggevende en ik stellen een Plan van Aanpak op</a:t>
            </a:r>
          </a:p>
        </p:txBody>
      </p:sp>
      <p:sp>
        <p:nvSpPr>
          <p:cNvPr id="2215" name="TextBox 2214">
            <a:extLst>
              <a:ext uri="{FF2B5EF4-FFF2-40B4-BE49-F238E27FC236}">
                <a16:creationId xmlns:a16="http://schemas.microsoft.com/office/drawing/2014/main" id="{3A6D8A36-7A3F-779D-937C-905DF157007A}"/>
              </a:ext>
            </a:extLst>
          </p:cNvPr>
          <p:cNvSpPr txBox="1"/>
          <p:nvPr/>
        </p:nvSpPr>
        <p:spPr>
          <a:xfrm>
            <a:off x="5114249" y="6211263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word begeleid door de casemanager</a:t>
            </a:r>
          </a:p>
        </p:txBody>
      </p:sp>
      <p:sp>
        <p:nvSpPr>
          <p:cNvPr id="2216" name="TextBox 2215">
            <a:extLst>
              <a:ext uri="{FF2B5EF4-FFF2-40B4-BE49-F238E27FC236}">
                <a16:creationId xmlns:a16="http://schemas.microsoft.com/office/drawing/2014/main" id="{BDB3D8D4-33B8-C00C-EB9F-0CE544D765FB}"/>
              </a:ext>
            </a:extLst>
          </p:cNvPr>
          <p:cNvSpPr txBox="1"/>
          <p:nvPr/>
        </p:nvSpPr>
        <p:spPr>
          <a:xfrm>
            <a:off x="5598314" y="4887178"/>
            <a:ext cx="1028817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contact met mijn leidinggevende</a:t>
            </a:r>
          </a:p>
        </p:txBody>
      </p:sp>
      <p:sp>
        <p:nvSpPr>
          <p:cNvPr id="2217" name="TextBox 2216">
            <a:extLst>
              <a:ext uri="{FF2B5EF4-FFF2-40B4-BE49-F238E27FC236}">
                <a16:creationId xmlns:a16="http://schemas.microsoft.com/office/drawing/2014/main" id="{772558F8-7F89-073A-5B52-455E282B5B2A}"/>
              </a:ext>
            </a:extLst>
          </p:cNvPr>
          <p:cNvSpPr txBox="1"/>
          <p:nvPr/>
        </p:nvSpPr>
        <p:spPr>
          <a:xfrm>
            <a:off x="6801748" y="6132119"/>
            <a:ext cx="136528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heb contact met mijn teamleden</a:t>
            </a:r>
          </a:p>
        </p:txBody>
      </p:sp>
      <p:sp>
        <p:nvSpPr>
          <p:cNvPr id="2218" name="TextBox 2217">
            <a:extLst>
              <a:ext uri="{FF2B5EF4-FFF2-40B4-BE49-F238E27FC236}">
                <a16:creationId xmlns:a16="http://schemas.microsoft.com/office/drawing/2014/main" id="{78A5B863-F039-9258-E90A-BD422CDEFE16}"/>
              </a:ext>
            </a:extLst>
          </p:cNvPr>
          <p:cNvSpPr txBox="1"/>
          <p:nvPr/>
        </p:nvSpPr>
        <p:spPr>
          <a:xfrm>
            <a:off x="7335654" y="5603320"/>
            <a:ext cx="1397069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en attentie/ beterschapswens</a:t>
            </a:r>
          </a:p>
        </p:txBody>
      </p:sp>
      <p:sp>
        <p:nvSpPr>
          <p:cNvPr id="2219" name="TextBox 2218">
            <a:extLst>
              <a:ext uri="{FF2B5EF4-FFF2-40B4-BE49-F238E27FC236}">
                <a16:creationId xmlns:a16="http://schemas.microsoft.com/office/drawing/2014/main" id="{806E7F6B-4C19-4916-13EE-0CAEDE6D5F22}"/>
              </a:ext>
            </a:extLst>
          </p:cNvPr>
          <p:cNvSpPr txBox="1"/>
          <p:nvPr/>
        </p:nvSpPr>
        <p:spPr>
          <a:xfrm>
            <a:off x="5933538" y="4455037"/>
            <a:ext cx="13496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regel de nodige administratie</a:t>
            </a:r>
          </a:p>
        </p:txBody>
      </p:sp>
      <p:sp>
        <p:nvSpPr>
          <p:cNvPr id="2220" name="TextBox 2219">
            <a:extLst>
              <a:ext uri="{FF2B5EF4-FFF2-40B4-BE49-F238E27FC236}">
                <a16:creationId xmlns:a16="http://schemas.microsoft.com/office/drawing/2014/main" id="{A122193F-2FD0-CA53-728C-AF79C915328C}"/>
              </a:ext>
            </a:extLst>
          </p:cNvPr>
          <p:cNvSpPr txBox="1"/>
          <p:nvPr/>
        </p:nvSpPr>
        <p:spPr>
          <a:xfrm>
            <a:off x="6398409" y="4038573"/>
            <a:ext cx="13496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krijg begeleiding om te herstellen</a:t>
            </a:r>
          </a:p>
        </p:txBody>
      </p:sp>
      <p:sp>
        <p:nvSpPr>
          <p:cNvPr id="2221" name="TextBox 2220">
            <a:extLst>
              <a:ext uri="{FF2B5EF4-FFF2-40B4-BE49-F238E27FC236}">
                <a16:creationId xmlns:a16="http://schemas.microsoft.com/office/drawing/2014/main" id="{E75B27F7-1B17-E7FE-7273-CB5F385B72F4}"/>
              </a:ext>
            </a:extLst>
          </p:cNvPr>
          <p:cNvSpPr txBox="1"/>
          <p:nvPr/>
        </p:nvSpPr>
        <p:spPr>
          <a:xfrm>
            <a:off x="8784811" y="5760306"/>
            <a:ext cx="99700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 Ik krijg begeleiding in het oriënteren op ander werk</a:t>
            </a:r>
          </a:p>
        </p:txBody>
      </p:sp>
      <p:sp>
        <p:nvSpPr>
          <p:cNvPr id="2225" name="TextBox 2224">
            <a:extLst>
              <a:ext uri="{FF2B5EF4-FFF2-40B4-BE49-F238E27FC236}">
                <a16:creationId xmlns:a16="http://schemas.microsoft.com/office/drawing/2014/main" id="{2892B3A0-7C51-4702-94C9-F48684071161}"/>
              </a:ext>
            </a:extLst>
          </p:cNvPr>
          <p:cNvSpPr txBox="1"/>
          <p:nvPr/>
        </p:nvSpPr>
        <p:spPr>
          <a:xfrm>
            <a:off x="5414793" y="1947979"/>
            <a:ext cx="328108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spreek de re-integratiemogelijkheden met de bedrijfsarts en mijn leidinggevende</a:t>
            </a:r>
          </a:p>
        </p:txBody>
      </p:sp>
      <p:sp>
        <p:nvSpPr>
          <p:cNvPr id="2226" name="TextBox 2225">
            <a:extLst>
              <a:ext uri="{FF2B5EF4-FFF2-40B4-BE49-F238E27FC236}">
                <a16:creationId xmlns:a16="http://schemas.microsoft.com/office/drawing/2014/main" id="{F79C50CC-10BA-9CBB-C1DB-D4E5DFC3F3B4}"/>
              </a:ext>
            </a:extLst>
          </p:cNvPr>
          <p:cNvSpPr txBox="1"/>
          <p:nvPr/>
        </p:nvSpPr>
        <p:spPr>
          <a:xfrm>
            <a:off x="5837690" y="1640148"/>
            <a:ext cx="2880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bereid me voor om weer aan het werk te gaan</a:t>
            </a:r>
          </a:p>
        </p:txBody>
      </p:sp>
      <p:sp>
        <p:nvSpPr>
          <p:cNvPr id="2227" name="TextBox 2226">
            <a:extLst>
              <a:ext uri="{FF2B5EF4-FFF2-40B4-BE49-F238E27FC236}">
                <a16:creationId xmlns:a16="http://schemas.microsoft.com/office/drawing/2014/main" id="{BB27630C-BF11-F9B0-EF24-9D557E5F1ABD}"/>
              </a:ext>
            </a:extLst>
          </p:cNvPr>
          <p:cNvSpPr txBox="1"/>
          <p:nvPr/>
        </p:nvSpPr>
        <p:spPr>
          <a:xfrm>
            <a:off x="6046694" y="1420964"/>
            <a:ext cx="2880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start weer gedeeltelijk op</a:t>
            </a:r>
          </a:p>
        </p:txBody>
      </p:sp>
      <p:sp>
        <p:nvSpPr>
          <p:cNvPr id="2228" name="TextBox 2227">
            <a:extLst>
              <a:ext uri="{FF2B5EF4-FFF2-40B4-BE49-F238E27FC236}">
                <a16:creationId xmlns:a16="http://schemas.microsoft.com/office/drawing/2014/main" id="{A3E675A1-234D-1E0A-9658-32DED1F5FEC8}"/>
              </a:ext>
            </a:extLst>
          </p:cNvPr>
          <p:cNvSpPr txBox="1"/>
          <p:nvPr/>
        </p:nvSpPr>
        <p:spPr>
          <a:xfrm>
            <a:off x="6305176" y="873719"/>
            <a:ext cx="2409628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Ik word tijdens mijn re-integratie begeleid door mijn leidinggevende, casemanager en bedrijfsarts</a:t>
            </a:r>
          </a:p>
        </p:txBody>
      </p:sp>
      <p:sp>
        <p:nvSpPr>
          <p:cNvPr id="2229" name="TextBox 2228">
            <a:extLst>
              <a:ext uri="{FF2B5EF4-FFF2-40B4-BE49-F238E27FC236}">
                <a16:creationId xmlns:a16="http://schemas.microsoft.com/office/drawing/2014/main" id="{BC2F0204-2092-EAC6-DD32-E4416B17BFFB}"/>
              </a:ext>
            </a:extLst>
          </p:cNvPr>
          <p:cNvSpPr txBox="1"/>
          <p:nvPr/>
        </p:nvSpPr>
        <p:spPr>
          <a:xfrm>
            <a:off x="6758658" y="492163"/>
            <a:ext cx="1456073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 Ik ga weer volledig aan het werk</a:t>
            </a:r>
          </a:p>
        </p:txBody>
      </p:sp>
      <p:sp>
        <p:nvSpPr>
          <p:cNvPr id="2230" name="TextBox 2229">
            <a:extLst>
              <a:ext uri="{FF2B5EF4-FFF2-40B4-BE49-F238E27FC236}">
                <a16:creationId xmlns:a16="http://schemas.microsoft.com/office/drawing/2014/main" id="{91843F8E-455B-D96B-6575-1A36F5046DC5}"/>
              </a:ext>
            </a:extLst>
          </p:cNvPr>
          <p:cNvSpPr txBox="1"/>
          <p:nvPr/>
        </p:nvSpPr>
        <p:spPr>
          <a:xfrm>
            <a:off x="10283847" y="2467324"/>
            <a:ext cx="104397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vraag de WIA aan</a:t>
            </a:r>
          </a:p>
        </p:txBody>
      </p:sp>
      <p:sp>
        <p:nvSpPr>
          <p:cNvPr id="2231" name="TextBox 2230">
            <a:extLst>
              <a:ext uri="{FF2B5EF4-FFF2-40B4-BE49-F238E27FC236}">
                <a16:creationId xmlns:a16="http://schemas.microsoft.com/office/drawing/2014/main" id="{C1427E2B-39D2-1556-C545-8009CAA08F92}"/>
              </a:ext>
            </a:extLst>
          </p:cNvPr>
          <p:cNvSpPr txBox="1"/>
          <p:nvPr/>
        </p:nvSpPr>
        <p:spPr>
          <a:xfrm>
            <a:off x="9093720" y="942122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ga ziek uit dienst</a:t>
            </a: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232" name="TextBox 2231">
            <a:extLst>
              <a:ext uri="{FF2B5EF4-FFF2-40B4-BE49-F238E27FC236}">
                <a16:creationId xmlns:a16="http://schemas.microsoft.com/office/drawing/2014/main" id="{9B392140-5F86-0E18-2182-15A891AB5DB2}"/>
              </a:ext>
            </a:extLst>
          </p:cNvPr>
          <p:cNvSpPr txBox="1"/>
          <p:nvPr/>
        </p:nvSpPr>
        <p:spPr>
          <a:xfrm>
            <a:off x="10191592" y="1164192"/>
            <a:ext cx="1280406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n teken een vaststelling-overeenkomst</a:t>
            </a:r>
          </a:p>
        </p:txBody>
      </p:sp>
      <p:sp>
        <p:nvSpPr>
          <p:cNvPr id="2233" name="TextBox 2232">
            <a:extLst>
              <a:ext uri="{FF2B5EF4-FFF2-40B4-BE49-F238E27FC236}">
                <a16:creationId xmlns:a16="http://schemas.microsoft.com/office/drawing/2014/main" id="{7CB4EA57-10AD-F2CB-B8F7-B1BA2B625CD7}"/>
              </a:ext>
            </a:extLst>
          </p:cNvPr>
          <p:cNvSpPr txBox="1"/>
          <p:nvPr/>
        </p:nvSpPr>
        <p:spPr>
          <a:xfrm>
            <a:off x="10985998" y="1700394"/>
            <a:ext cx="117383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neem afscheid</a:t>
            </a:r>
          </a:p>
        </p:txBody>
      </p:sp>
      <p:sp>
        <p:nvSpPr>
          <p:cNvPr id="2234" name="TextBox 2233">
            <a:extLst>
              <a:ext uri="{FF2B5EF4-FFF2-40B4-BE49-F238E27FC236}">
                <a16:creationId xmlns:a16="http://schemas.microsoft.com/office/drawing/2014/main" id="{B9F2FE7D-62D4-E260-2BF2-CCDC2C91F0C9}"/>
              </a:ext>
            </a:extLst>
          </p:cNvPr>
          <p:cNvSpPr txBox="1"/>
          <p:nvPr/>
        </p:nvSpPr>
        <p:spPr>
          <a:xfrm>
            <a:off x="11299334" y="2490298"/>
            <a:ext cx="982755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krijg een transitie-vergoeding</a:t>
            </a:r>
          </a:p>
        </p:txBody>
      </p:sp>
      <p:sp>
        <p:nvSpPr>
          <p:cNvPr id="2236" name="Freeform 60">
            <a:extLst>
              <a:ext uri="{FF2B5EF4-FFF2-40B4-BE49-F238E27FC236}">
                <a16:creationId xmlns:a16="http://schemas.microsoft.com/office/drawing/2014/main" id="{828C2B5D-257D-B761-8637-181291FC49F3}"/>
              </a:ext>
            </a:extLst>
          </p:cNvPr>
          <p:cNvSpPr/>
          <p:nvPr/>
        </p:nvSpPr>
        <p:spPr>
          <a:xfrm rot="992010" flipV="1">
            <a:off x="9174124" y="4706942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37" name="Freeform 59">
            <a:extLst>
              <a:ext uri="{FF2B5EF4-FFF2-40B4-BE49-F238E27FC236}">
                <a16:creationId xmlns:a16="http://schemas.microsoft.com/office/drawing/2014/main" id="{8BFAE19E-CEED-806F-16AF-266E36BAA145}"/>
              </a:ext>
            </a:extLst>
          </p:cNvPr>
          <p:cNvSpPr>
            <a:spLocks noChangeAspect="1"/>
          </p:cNvSpPr>
          <p:nvPr/>
        </p:nvSpPr>
        <p:spPr>
          <a:xfrm rot="992010" flipV="1">
            <a:off x="9203557" y="4713746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 dirty="0"/>
          </a:p>
        </p:txBody>
      </p:sp>
      <p:sp>
        <p:nvSpPr>
          <p:cNvPr id="2246" name="Freeform 60">
            <a:extLst>
              <a:ext uri="{FF2B5EF4-FFF2-40B4-BE49-F238E27FC236}">
                <a16:creationId xmlns:a16="http://schemas.microsoft.com/office/drawing/2014/main" id="{19F12143-ED0E-68F1-2E89-EB21D4B63177}"/>
              </a:ext>
            </a:extLst>
          </p:cNvPr>
          <p:cNvSpPr/>
          <p:nvPr/>
        </p:nvSpPr>
        <p:spPr>
          <a:xfrm rot="11772233" flipH="1" flipV="1">
            <a:off x="9424649" y="3844655"/>
            <a:ext cx="929034" cy="928723"/>
          </a:xfrm>
          <a:custGeom>
            <a:avLst/>
            <a:gdLst>
              <a:gd name="connsiteX0" fmla="*/ 0 w 495734"/>
              <a:gd name="connsiteY0" fmla="*/ 0 h 495568"/>
              <a:gd name="connsiteX1" fmla="*/ 0 w 495734"/>
              <a:gd name="connsiteY1" fmla="*/ 233999 h 495568"/>
              <a:gd name="connsiteX2" fmla="*/ 261656 w 495734"/>
              <a:gd name="connsiteY2" fmla="*/ 495568 h 495568"/>
              <a:gd name="connsiteX3" fmla="*/ 495734 w 495734"/>
              <a:gd name="connsiteY3" fmla="*/ 495568 h 495568"/>
              <a:gd name="connsiteX4" fmla="*/ 0 w 495734"/>
              <a:gd name="connsiteY4" fmla="*/ 0 h 495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5734" h="495568">
                <a:moveTo>
                  <a:pt x="0" y="0"/>
                </a:moveTo>
                <a:lnTo>
                  <a:pt x="0" y="233999"/>
                </a:lnTo>
                <a:cubicBezTo>
                  <a:pt x="144239" y="233999"/>
                  <a:pt x="261656" y="351309"/>
                  <a:pt x="261656" y="495568"/>
                </a:cubicBezTo>
                <a:lnTo>
                  <a:pt x="495734" y="495568"/>
                </a:lnTo>
                <a:cubicBezTo>
                  <a:pt x="495734" y="222351"/>
                  <a:pt x="273378" y="0"/>
                  <a:pt x="0" y="0"/>
                </a:cubicBez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47" name="Freeform 59">
            <a:extLst>
              <a:ext uri="{FF2B5EF4-FFF2-40B4-BE49-F238E27FC236}">
                <a16:creationId xmlns:a16="http://schemas.microsoft.com/office/drawing/2014/main" id="{8A157188-5C8C-E550-B2CE-58D3537CEB9E}"/>
              </a:ext>
            </a:extLst>
          </p:cNvPr>
          <p:cNvSpPr>
            <a:spLocks noChangeAspect="1"/>
          </p:cNvSpPr>
          <p:nvPr/>
        </p:nvSpPr>
        <p:spPr>
          <a:xfrm rot="11772233" flipH="1" flipV="1">
            <a:off x="9404188" y="4021325"/>
            <a:ext cx="719709" cy="686401"/>
          </a:xfrm>
          <a:custGeom>
            <a:avLst/>
            <a:gdLst>
              <a:gd name="connsiteX0" fmla="*/ 359494 w 384038"/>
              <a:gd name="connsiteY0" fmla="*/ 247302 h 366265"/>
              <a:gd name="connsiteX1" fmla="*/ 351978 w 384038"/>
              <a:gd name="connsiteY1" fmla="*/ 249852 h 366265"/>
              <a:gd name="connsiteX2" fmla="*/ 351633 w 384038"/>
              <a:gd name="connsiteY2" fmla="*/ 249990 h 366265"/>
              <a:gd name="connsiteX3" fmla="*/ 351771 w 384038"/>
              <a:gd name="connsiteY3" fmla="*/ 250334 h 366265"/>
              <a:gd name="connsiteX4" fmla="*/ 366526 w 384038"/>
              <a:gd name="connsiteY4" fmla="*/ 298581 h 366265"/>
              <a:gd name="connsiteX5" fmla="*/ 370525 w 384038"/>
              <a:gd name="connsiteY5" fmla="*/ 298030 h 366265"/>
              <a:gd name="connsiteX6" fmla="*/ 374317 w 384038"/>
              <a:gd name="connsiteY6" fmla="*/ 297134 h 366265"/>
              <a:gd name="connsiteX7" fmla="*/ 359494 w 384038"/>
              <a:gd name="connsiteY7" fmla="*/ 247302 h 366265"/>
              <a:gd name="connsiteX8" fmla="*/ 73360 w 384038"/>
              <a:gd name="connsiteY8" fmla="*/ 6961 h 366265"/>
              <a:gd name="connsiteX9" fmla="*/ 71844 w 384038"/>
              <a:gd name="connsiteY9" fmla="*/ 15095 h 366265"/>
              <a:gd name="connsiteX10" fmla="*/ 72188 w 384038"/>
              <a:gd name="connsiteY10" fmla="*/ 15163 h 366265"/>
              <a:gd name="connsiteX11" fmla="*/ 120934 w 384038"/>
              <a:gd name="connsiteY11" fmla="*/ 28121 h 366265"/>
              <a:gd name="connsiteX12" fmla="*/ 121279 w 384038"/>
              <a:gd name="connsiteY12" fmla="*/ 28259 h 366265"/>
              <a:gd name="connsiteX13" fmla="*/ 123830 w 384038"/>
              <a:gd name="connsiteY13" fmla="*/ 20746 h 366265"/>
              <a:gd name="connsiteX14" fmla="*/ 73705 w 384038"/>
              <a:gd name="connsiteY14" fmla="*/ 7099 h 366265"/>
              <a:gd name="connsiteX15" fmla="*/ 73360 w 384038"/>
              <a:gd name="connsiteY15" fmla="*/ 6961 h 366265"/>
              <a:gd name="connsiteX16" fmla="*/ 379626 w 384038"/>
              <a:gd name="connsiteY16" fmla="*/ 322498 h 366265"/>
              <a:gd name="connsiteX17" fmla="*/ 374869 w 384038"/>
              <a:gd name="connsiteY17" fmla="*/ 322912 h 366265"/>
              <a:gd name="connsiteX18" fmla="*/ 371421 w 384038"/>
              <a:gd name="connsiteY18" fmla="*/ 323463 h 366265"/>
              <a:gd name="connsiteX19" fmla="*/ 371490 w 384038"/>
              <a:gd name="connsiteY19" fmla="*/ 323808 h 366265"/>
              <a:gd name="connsiteX20" fmla="*/ 375972 w 384038"/>
              <a:gd name="connsiteY20" fmla="*/ 366265 h 366265"/>
              <a:gd name="connsiteX21" fmla="*/ 384039 w 384038"/>
              <a:gd name="connsiteY21" fmla="*/ 366265 h 366265"/>
              <a:gd name="connsiteX22" fmla="*/ 379626 w 384038"/>
              <a:gd name="connsiteY22" fmla="*/ 322498 h 366265"/>
              <a:gd name="connsiteX23" fmla="*/ 69 w 384038"/>
              <a:gd name="connsiteY23" fmla="*/ 7995 h 366265"/>
              <a:gd name="connsiteX24" fmla="*/ 46678 w 384038"/>
              <a:gd name="connsiteY24" fmla="*/ 11166 h 366265"/>
              <a:gd name="connsiteX25" fmla="*/ 47367 w 384038"/>
              <a:gd name="connsiteY25" fmla="*/ 8202 h 366265"/>
              <a:gd name="connsiteX26" fmla="*/ 47988 w 384038"/>
              <a:gd name="connsiteY26" fmla="*/ 3308 h 366265"/>
              <a:gd name="connsiteX27" fmla="*/ 0 w 384038"/>
              <a:gd name="connsiteY27" fmla="*/ 0 h 366265"/>
              <a:gd name="connsiteX28" fmla="*/ 0 w 384038"/>
              <a:gd name="connsiteY28" fmla="*/ 7995 h 366265"/>
              <a:gd name="connsiteX29" fmla="*/ 148238 w 384038"/>
              <a:gd name="connsiteY29" fmla="*/ 29500 h 366265"/>
              <a:gd name="connsiteX30" fmla="*/ 146031 w 384038"/>
              <a:gd name="connsiteY30" fmla="*/ 33911 h 366265"/>
              <a:gd name="connsiteX31" fmla="*/ 144790 w 384038"/>
              <a:gd name="connsiteY31" fmla="*/ 37013 h 366265"/>
              <a:gd name="connsiteX32" fmla="*/ 147893 w 384038"/>
              <a:gd name="connsiteY32" fmla="*/ 38391 h 366265"/>
              <a:gd name="connsiteX33" fmla="*/ 190227 w 384038"/>
              <a:gd name="connsiteY33" fmla="*/ 59827 h 366265"/>
              <a:gd name="connsiteX34" fmla="*/ 194570 w 384038"/>
              <a:gd name="connsiteY34" fmla="*/ 53210 h 366265"/>
              <a:gd name="connsiteX35" fmla="*/ 150444 w 384038"/>
              <a:gd name="connsiteY35" fmla="*/ 30534 h 366265"/>
              <a:gd name="connsiteX36" fmla="*/ 148238 w 384038"/>
              <a:gd name="connsiteY36" fmla="*/ 29500 h 366265"/>
              <a:gd name="connsiteX37" fmla="*/ 276342 w 384038"/>
              <a:gd name="connsiteY37" fmla="*/ 116689 h 366265"/>
              <a:gd name="connsiteX38" fmla="*/ 273240 w 384038"/>
              <a:gd name="connsiteY38" fmla="*/ 119240 h 366265"/>
              <a:gd name="connsiteX39" fmla="*/ 270206 w 384038"/>
              <a:gd name="connsiteY39" fmla="*/ 122203 h 366265"/>
              <a:gd name="connsiteX40" fmla="*/ 276618 w 384038"/>
              <a:gd name="connsiteY40" fmla="*/ 129372 h 366265"/>
              <a:gd name="connsiteX41" fmla="*/ 302818 w 384038"/>
              <a:gd name="connsiteY41" fmla="*/ 161146 h 366265"/>
              <a:gd name="connsiteX42" fmla="*/ 308058 w 384038"/>
              <a:gd name="connsiteY42" fmla="*/ 157768 h 366265"/>
              <a:gd name="connsiteX43" fmla="*/ 309437 w 384038"/>
              <a:gd name="connsiteY43" fmla="*/ 156804 h 366265"/>
              <a:gd name="connsiteX44" fmla="*/ 282341 w 384038"/>
              <a:gd name="connsiteY44" fmla="*/ 123444 h 366265"/>
              <a:gd name="connsiteX45" fmla="*/ 276342 w 384038"/>
              <a:gd name="connsiteY45" fmla="*/ 116689 h 366265"/>
              <a:gd name="connsiteX46" fmla="*/ 320676 w 384038"/>
              <a:gd name="connsiteY46" fmla="*/ 179893 h 366265"/>
              <a:gd name="connsiteX47" fmla="*/ 317366 w 384038"/>
              <a:gd name="connsiteY47" fmla="*/ 181961 h 366265"/>
              <a:gd name="connsiteX48" fmla="*/ 317573 w 384038"/>
              <a:gd name="connsiteY48" fmla="*/ 182237 h 366265"/>
              <a:gd name="connsiteX49" fmla="*/ 341705 w 384038"/>
              <a:gd name="connsiteY49" fmla="*/ 226555 h 366265"/>
              <a:gd name="connsiteX50" fmla="*/ 347635 w 384038"/>
              <a:gd name="connsiteY50" fmla="*/ 224212 h 366265"/>
              <a:gd name="connsiteX51" fmla="*/ 349013 w 384038"/>
              <a:gd name="connsiteY51" fmla="*/ 223592 h 366265"/>
              <a:gd name="connsiteX52" fmla="*/ 324537 w 384038"/>
              <a:gd name="connsiteY52" fmla="*/ 177757 h 366265"/>
              <a:gd name="connsiteX53" fmla="*/ 320676 w 384038"/>
              <a:gd name="connsiteY53" fmla="*/ 179893 h 366265"/>
              <a:gd name="connsiteX54" fmla="*/ 216772 w 384038"/>
              <a:gd name="connsiteY54" fmla="*/ 66512 h 366265"/>
              <a:gd name="connsiteX55" fmla="*/ 212014 w 384038"/>
              <a:gd name="connsiteY55" fmla="*/ 72853 h 366265"/>
              <a:gd name="connsiteX56" fmla="*/ 211807 w 384038"/>
              <a:gd name="connsiteY56" fmla="*/ 73129 h 366265"/>
              <a:gd name="connsiteX57" fmla="*/ 222081 w 384038"/>
              <a:gd name="connsiteY57" fmla="*/ 80711 h 366265"/>
              <a:gd name="connsiteX58" fmla="*/ 251590 w 384038"/>
              <a:gd name="connsiteY58" fmla="*/ 104697 h 366265"/>
              <a:gd name="connsiteX59" fmla="*/ 257175 w 384038"/>
              <a:gd name="connsiteY59" fmla="*/ 99045 h 366265"/>
              <a:gd name="connsiteX60" fmla="*/ 226631 w 384038"/>
              <a:gd name="connsiteY60" fmla="*/ 73818 h 366265"/>
              <a:gd name="connsiteX61" fmla="*/ 216772 w 384038"/>
              <a:gd name="connsiteY61" fmla="*/ 66512 h 366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84038" h="366265">
                <a:moveTo>
                  <a:pt x="359494" y="247302"/>
                </a:moveTo>
                <a:cubicBezTo>
                  <a:pt x="359080" y="247095"/>
                  <a:pt x="351978" y="249852"/>
                  <a:pt x="351978" y="249852"/>
                </a:cubicBezTo>
                <a:lnTo>
                  <a:pt x="351633" y="249990"/>
                </a:lnTo>
                <a:lnTo>
                  <a:pt x="351771" y="250334"/>
                </a:lnTo>
                <a:cubicBezTo>
                  <a:pt x="358252" y="267014"/>
                  <a:pt x="363010" y="282729"/>
                  <a:pt x="366526" y="298581"/>
                </a:cubicBezTo>
                <a:cubicBezTo>
                  <a:pt x="366940" y="298857"/>
                  <a:pt x="370525" y="298030"/>
                  <a:pt x="370525" y="298030"/>
                </a:cubicBezTo>
                <a:lnTo>
                  <a:pt x="374317" y="297134"/>
                </a:lnTo>
                <a:cubicBezTo>
                  <a:pt x="371008" y="280523"/>
                  <a:pt x="366112" y="264326"/>
                  <a:pt x="359494" y="247302"/>
                </a:cubicBezTo>
                <a:close/>
                <a:moveTo>
                  <a:pt x="73360" y="6961"/>
                </a:moveTo>
                <a:lnTo>
                  <a:pt x="71844" y="15095"/>
                </a:lnTo>
                <a:lnTo>
                  <a:pt x="72188" y="15163"/>
                </a:lnTo>
                <a:cubicBezTo>
                  <a:pt x="89287" y="18541"/>
                  <a:pt x="105697" y="22883"/>
                  <a:pt x="120934" y="28121"/>
                </a:cubicBezTo>
                <a:lnTo>
                  <a:pt x="121279" y="28259"/>
                </a:lnTo>
                <a:lnTo>
                  <a:pt x="123830" y="20746"/>
                </a:lnTo>
                <a:cubicBezTo>
                  <a:pt x="108041" y="15026"/>
                  <a:pt x="91287" y="10545"/>
                  <a:pt x="73705" y="7099"/>
                </a:cubicBezTo>
                <a:lnTo>
                  <a:pt x="73360" y="6961"/>
                </a:lnTo>
                <a:close/>
                <a:moveTo>
                  <a:pt x="379626" y="322498"/>
                </a:moveTo>
                <a:cubicBezTo>
                  <a:pt x="379212" y="322223"/>
                  <a:pt x="374869" y="322912"/>
                  <a:pt x="374869" y="322912"/>
                </a:cubicBezTo>
                <a:lnTo>
                  <a:pt x="371421" y="323463"/>
                </a:lnTo>
                <a:lnTo>
                  <a:pt x="371490" y="323808"/>
                </a:lnTo>
                <a:cubicBezTo>
                  <a:pt x="373904" y="337524"/>
                  <a:pt x="375351" y="351791"/>
                  <a:pt x="375972" y="366265"/>
                </a:cubicBezTo>
                <a:lnTo>
                  <a:pt x="384039" y="366265"/>
                </a:lnTo>
                <a:cubicBezTo>
                  <a:pt x="383625" y="351240"/>
                  <a:pt x="382177" y="336559"/>
                  <a:pt x="379626" y="322498"/>
                </a:cubicBezTo>
                <a:close/>
                <a:moveTo>
                  <a:pt x="69" y="7995"/>
                </a:moveTo>
                <a:cubicBezTo>
                  <a:pt x="15100" y="8340"/>
                  <a:pt x="30613" y="9236"/>
                  <a:pt x="46678" y="11166"/>
                </a:cubicBezTo>
                <a:cubicBezTo>
                  <a:pt x="47091" y="10890"/>
                  <a:pt x="47367" y="8202"/>
                  <a:pt x="47367" y="8202"/>
                </a:cubicBezTo>
                <a:lnTo>
                  <a:pt x="47988" y="3308"/>
                </a:lnTo>
                <a:cubicBezTo>
                  <a:pt x="31164" y="1034"/>
                  <a:pt x="15169" y="69"/>
                  <a:pt x="0" y="0"/>
                </a:cubicBezTo>
                <a:lnTo>
                  <a:pt x="0" y="7995"/>
                </a:lnTo>
                <a:close/>
                <a:moveTo>
                  <a:pt x="148238" y="29500"/>
                </a:moveTo>
                <a:cubicBezTo>
                  <a:pt x="147755" y="29707"/>
                  <a:pt x="146031" y="33911"/>
                  <a:pt x="146031" y="33911"/>
                </a:cubicBezTo>
                <a:lnTo>
                  <a:pt x="144790" y="37013"/>
                </a:lnTo>
                <a:lnTo>
                  <a:pt x="147893" y="38391"/>
                </a:lnTo>
                <a:cubicBezTo>
                  <a:pt x="160510" y="44043"/>
                  <a:pt x="176230" y="51142"/>
                  <a:pt x="190227" y="59827"/>
                </a:cubicBezTo>
                <a:cubicBezTo>
                  <a:pt x="190709" y="59689"/>
                  <a:pt x="194570" y="53210"/>
                  <a:pt x="194570" y="53210"/>
                </a:cubicBezTo>
                <a:cubicBezTo>
                  <a:pt x="180023" y="43767"/>
                  <a:pt x="163613" y="36392"/>
                  <a:pt x="150444" y="30534"/>
                </a:cubicBezTo>
                <a:lnTo>
                  <a:pt x="148238" y="29500"/>
                </a:lnTo>
                <a:close/>
                <a:moveTo>
                  <a:pt x="276342" y="116689"/>
                </a:moveTo>
                <a:cubicBezTo>
                  <a:pt x="275860" y="116689"/>
                  <a:pt x="273240" y="119240"/>
                  <a:pt x="273240" y="119240"/>
                </a:cubicBezTo>
                <a:lnTo>
                  <a:pt x="270206" y="122203"/>
                </a:lnTo>
                <a:lnTo>
                  <a:pt x="276618" y="129372"/>
                </a:lnTo>
                <a:cubicBezTo>
                  <a:pt x="286478" y="140262"/>
                  <a:pt x="295303" y="150187"/>
                  <a:pt x="302818" y="161146"/>
                </a:cubicBezTo>
                <a:cubicBezTo>
                  <a:pt x="303301" y="161215"/>
                  <a:pt x="308058" y="157768"/>
                  <a:pt x="308058" y="157768"/>
                </a:cubicBezTo>
                <a:lnTo>
                  <a:pt x="309437" y="156804"/>
                </a:lnTo>
                <a:cubicBezTo>
                  <a:pt x="301095" y="144190"/>
                  <a:pt x="290753" y="132680"/>
                  <a:pt x="282341" y="123444"/>
                </a:cubicBezTo>
                <a:lnTo>
                  <a:pt x="276342" y="116689"/>
                </a:lnTo>
                <a:close/>
                <a:moveTo>
                  <a:pt x="320676" y="179893"/>
                </a:moveTo>
                <a:lnTo>
                  <a:pt x="317366" y="181961"/>
                </a:lnTo>
                <a:lnTo>
                  <a:pt x="317573" y="182237"/>
                </a:lnTo>
                <a:cubicBezTo>
                  <a:pt x="325985" y="195884"/>
                  <a:pt x="334741" y="210703"/>
                  <a:pt x="341705" y="226555"/>
                </a:cubicBezTo>
                <a:cubicBezTo>
                  <a:pt x="342188" y="226693"/>
                  <a:pt x="347635" y="224212"/>
                  <a:pt x="347635" y="224212"/>
                </a:cubicBezTo>
                <a:lnTo>
                  <a:pt x="349013" y="223592"/>
                </a:lnTo>
                <a:cubicBezTo>
                  <a:pt x="342050" y="206843"/>
                  <a:pt x="333155" y="191748"/>
                  <a:pt x="324537" y="177757"/>
                </a:cubicBezTo>
                <a:cubicBezTo>
                  <a:pt x="324054" y="177688"/>
                  <a:pt x="320676" y="179893"/>
                  <a:pt x="320676" y="179893"/>
                </a:cubicBezTo>
                <a:close/>
                <a:moveTo>
                  <a:pt x="216772" y="66512"/>
                </a:moveTo>
                <a:cubicBezTo>
                  <a:pt x="216289" y="66581"/>
                  <a:pt x="212014" y="72853"/>
                  <a:pt x="212014" y="72853"/>
                </a:cubicBezTo>
                <a:lnTo>
                  <a:pt x="211807" y="73129"/>
                </a:lnTo>
                <a:lnTo>
                  <a:pt x="222081" y="80711"/>
                </a:lnTo>
                <a:cubicBezTo>
                  <a:pt x="233043" y="88706"/>
                  <a:pt x="242765" y="96081"/>
                  <a:pt x="251590" y="104697"/>
                </a:cubicBezTo>
                <a:cubicBezTo>
                  <a:pt x="252073" y="104697"/>
                  <a:pt x="257175" y="99045"/>
                  <a:pt x="257175" y="99045"/>
                </a:cubicBezTo>
                <a:cubicBezTo>
                  <a:pt x="248074" y="89740"/>
                  <a:pt x="238007" y="82089"/>
                  <a:pt x="226631" y="73818"/>
                </a:cubicBezTo>
                <a:lnTo>
                  <a:pt x="216772" y="66512"/>
                </a:ln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55" name="Freeform 754">
            <a:extLst>
              <a:ext uri="{FF2B5EF4-FFF2-40B4-BE49-F238E27FC236}">
                <a16:creationId xmlns:a16="http://schemas.microsoft.com/office/drawing/2014/main" id="{D152B82D-C475-D3CE-80E3-FF0C8DDA9AE4}"/>
              </a:ext>
            </a:extLst>
          </p:cNvPr>
          <p:cNvSpPr/>
          <p:nvPr/>
        </p:nvSpPr>
        <p:spPr>
          <a:xfrm rot="20331072">
            <a:off x="3205047" y="1970904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6" name="Freeform 754">
            <a:extLst>
              <a:ext uri="{FF2B5EF4-FFF2-40B4-BE49-F238E27FC236}">
                <a16:creationId xmlns:a16="http://schemas.microsoft.com/office/drawing/2014/main" id="{32955834-361B-ED94-8076-7BEB6E5C35D0}"/>
              </a:ext>
            </a:extLst>
          </p:cNvPr>
          <p:cNvSpPr/>
          <p:nvPr/>
        </p:nvSpPr>
        <p:spPr>
          <a:xfrm rot="20331072">
            <a:off x="3379430" y="2527497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7" name="Freeform 754">
            <a:extLst>
              <a:ext uri="{FF2B5EF4-FFF2-40B4-BE49-F238E27FC236}">
                <a16:creationId xmlns:a16="http://schemas.microsoft.com/office/drawing/2014/main" id="{08077D46-77FD-CCF3-06EA-5F9E3BFFDD39}"/>
              </a:ext>
            </a:extLst>
          </p:cNvPr>
          <p:cNvSpPr/>
          <p:nvPr/>
        </p:nvSpPr>
        <p:spPr>
          <a:xfrm rot="20331072">
            <a:off x="3378227" y="3136879"/>
            <a:ext cx="368630" cy="4571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8" name="Freeform 754">
            <a:extLst>
              <a:ext uri="{FF2B5EF4-FFF2-40B4-BE49-F238E27FC236}">
                <a16:creationId xmlns:a16="http://schemas.microsoft.com/office/drawing/2014/main" id="{D0CDFB79-27FD-329C-A869-2843D2DE36A8}"/>
              </a:ext>
            </a:extLst>
          </p:cNvPr>
          <p:cNvSpPr/>
          <p:nvPr/>
        </p:nvSpPr>
        <p:spPr>
          <a:xfrm rot="20331072" flipH="1">
            <a:off x="3031665" y="3404215"/>
            <a:ext cx="353827" cy="30013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59" name="Freeform 754">
            <a:extLst>
              <a:ext uri="{FF2B5EF4-FFF2-40B4-BE49-F238E27FC236}">
                <a16:creationId xmlns:a16="http://schemas.microsoft.com/office/drawing/2014/main" id="{31AA2034-7DE2-D8E5-9DC1-CD3683DF3F08}"/>
              </a:ext>
            </a:extLst>
          </p:cNvPr>
          <p:cNvSpPr/>
          <p:nvPr/>
        </p:nvSpPr>
        <p:spPr>
          <a:xfrm rot="20331072" flipH="1">
            <a:off x="2705214" y="4147015"/>
            <a:ext cx="673755" cy="24642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0" name="Freeform 754">
            <a:extLst>
              <a:ext uri="{FF2B5EF4-FFF2-40B4-BE49-F238E27FC236}">
                <a16:creationId xmlns:a16="http://schemas.microsoft.com/office/drawing/2014/main" id="{7F73AD8F-7F0D-D0BD-E987-570941E3A4E7}"/>
              </a:ext>
            </a:extLst>
          </p:cNvPr>
          <p:cNvSpPr/>
          <p:nvPr/>
        </p:nvSpPr>
        <p:spPr>
          <a:xfrm rot="20331072" flipH="1">
            <a:off x="2841339" y="4831083"/>
            <a:ext cx="184433" cy="34438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3" name="Freeform 754">
            <a:extLst>
              <a:ext uri="{FF2B5EF4-FFF2-40B4-BE49-F238E27FC236}">
                <a16:creationId xmlns:a16="http://schemas.microsoft.com/office/drawing/2014/main" id="{A745FD47-FA78-EC42-DC84-E0DEE7206326}"/>
              </a:ext>
            </a:extLst>
          </p:cNvPr>
          <p:cNvSpPr/>
          <p:nvPr/>
        </p:nvSpPr>
        <p:spPr>
          <a:xfrm rot="20331072" flipH="1">
            <a:off x="3055702" y="5712292"/>
            <a:ext cx="474804" cy="5238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4" name="Freeform 754">
            <a:extLst>
              <a:ext uri="{FF2B5EF4-FFF2-40B4-BE49-F238E27FC236}">
                <a16:creationId xmlns:a16="http://schemas.microsoft.com/office/drawing/2014/main" id="{0429D89A-3190-802C-59F5-980916C69CB3}"/>
              </a:ext>
            </a:extLst>
          </p:cNvPr>
          <p:cNvSpPr/>
          <p:nvPr/>
        </p:nvSpPr>
        <p:spPr>
          <a:xfrm rot="7869522">
            <a:off x="3811897" y="6060640"/>
            <a:ext cx="411638" cy="221110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5" name="Freeform 754">
            <a:extLst>
              <a:ext uri="{FF2B5EF4-FFF2-40B4-BE49-F238E27FC236}">
                <a16:creationId xmlns:a16="http://schemas.microsoft.com/office/drawing/2014/main" id="{EF0DBEB5-B600-87B4-9225-C19AF3DD82C2}"/>
              </a:ext>
            </a:extLst>
          </p:cNvPr>
          <p:cNvSpPr/>
          <p:nvPr/>
        </p:nvSpPr>
        <p:spPr>
          <a:xfrm rot="7869522" flipH="1" flipV="1">
            <a:off x="4609884" y="5702436"/>
            <a:ext cx="310757" cy="13891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6" name="Freeform 754">
            <a:extLst>
              <a:ext uri="{FF2B5EF4-FFF2-40B4-BE49-F238E27FC236}">
                <a16:creationId xmlns:a16="http://schemas.microsoft.com/office/drawing/2014/main" id="{F9626AAF-4BB2-38D4-4DB8-1D9AC8CA8EE2}"/>
              </a:ext>
            </a:extLst>
          </p:cNvPr>
          <p:cNvSpPr/>
          <p:nvPr/>
        </p:nvSpPr>
        <p:spPr>
          <a:xfrm rot="7869522">
            <a:off x="5362959" y="5996307"/>
            <a:ext cx="254981" cy="213224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7" name="Freeform 754">
            <a:extLst>
              <a:ext uri="{FF2B5EF4-FFF2-40B4-BE49-F238E27FC236}">
                <a16:creationId xmlns:a16="http://schemas.microsoft.com/office/drawing/2014/main" id="{6B29D6A8-A2D8-C13B-FAE8-77918C935C1B}"/>
              </a:ext>
            </a:extLst>
          </p:cNvPr>
          <p:cNvSpPr/>
          <p:nvPr/>
        </p:nvSpPr>
        <p:spPr>
          <a:xfrm rot="12282343" flipV="1">
            <a:off x="6009109" y="5533058"/>
            <a:ext cx="176585" cy="389984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69" name="Freeform 754">
            <a:extLst>
              <a:ext uri="{FF2B5EF4-FFF2-40B4-BE49-F238E27FC236}">
                <a16:creationId xmlns:a16="http://schemas.microsoft.com/office/drawing/2014/main" id="{E16731C1-9951-678A-702F-8ADE0ED422B8}"/>
              </a:ext>
            </a:extLst>
          </p:cNvPr>
          <p:cNvSpPr/>
          <p:nvPr/>
        </p:nvSpPr>
        <p:spPr>
          <a:xfrm rot="18139270" flipH="1" flipV="1">
            <a:off x="6718822" y="5968855"/>
            <a:ext cx="281760" cy="378391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0" name="Freeform 754">
            <a:extLst>
              <a:ext uri="{FF2B5EF4-FFF2-40B4-BE49-F238E27FC236}">
                <a16:creationId xmlns:a16="http://schemas.microsoft.com/office/drawing/2014/main" id="{FA401B76-9EE3-42BC-4CF5-B417688F7378}"/>
              </a:ext>
            </a:extLst>
          </p:cNvPr>
          <p:cNvSpPr/>
          <p:nvPr/>
        </p:nvSpPr>
        <p:spPr>
          <a:xfrm rot="18139270" flipV="1">
            <a:off x="7354045" y="5612328"/>
            <a:ext cx="150274" cy="39640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1" name="Freeform 754">
            <a:extLst>
              <a:ext uri="{FF2B5EF4-FFF2-40B4-BE49-F238E27FC236}">
                <a16:creationId xmlns:a16="http://schemas.microsoft.com/office/drawing/2014/main" id="{186E33A5-5E4A-354A-89FC-D5C022D2DFF1}"/>
              </a:ext>
            </a:extLst>
          </p:cNvPr>
          <p:cNvSpPr/>
          <p:nvPr/>
        </p:nvSpPr>
        <p:spPr>
          <a:xfrm rot="18139270">
            <a:off x="7124305" y="4695687"/>
            <a:ext cx="47418" cy="837612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2" name="Freeform 754">
            <a:extLst>
              <a:ext uri="{FF2B5EF4-FFF2-40B4-BE49-F238E27FC236}">
                <a16:creationId xmlns:a16="http://schemas.microsoft.com/office/drawing/2014/main" id="{CB17C598-3734-7CA3-EB8E-AEE328D27D76}"/>
              </a:ext>
            </a:extLst>
          </p:cNvPr>
          <p:cNvSpPr/>
          <p:nvPr/>
        </p:nvSpPr>
        <p:spPr>
          <a:xfrm rot="18139270" flipH="1">
            <a:off x="7483333" y="4310502"/>
            <a:ext cx="45719" cy="51598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73" name="Freeform 754">
            <a:extLst>
              <a:ext uri="{FF2B5EF4-FFF2-40B4-BE49-F238E27FC236}">
                <a16:creationId xmlns:a16="http://schemas.microsoft.com/office/drawing/2014/main" id="{00909A5C-0B6E-0AF1-BB6C-E3722201390B}"/>
              </a:ext>
            </a:extLst>
          </p:cNvPr>
          <p:cNvSpPr/>
          <p:nvPr/>
        </p:nvSpPr>
        <p:spPr>
          <a:xfrm rot="18139270" flipH="1" flipV="1">
            <a:off x="9106395" y="5388231"/>
            <a:ext cx="372445" cy="23707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280" name="Graphic 2279">
            <a:extLst>
              <a:ext uri="{FF2B5EF4-FFF2-40B4-BE49-F238E27FC236}">
                <a16:creationId xmlns:a16="http://schemas.microsoft.com/office/drawing/2014/main" id="{810AF655-1769-3838-127E-C46FF3B188BA}"/>
              </a:ext>
            </a:extLst>
          </p:cNvPr>
          <p:cNvPicPr>
            <a:picLocks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87243" y="1275564"/>
            <a:ext cx="1543148" cy="1543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281" name="Freeform 754">
            <a:extLst>
              <a:ext uri="{FF2B5EF4-FFF2-40B4-BE49-F238E27FC236}">
                <a16:creationId xmlns:a16="http://schemas.microsoft.com/office/drawing/2014/main" id="{4667E08D-F7D2-02E1-6DAB-6B92DDD7A5ED}"/>
              </a:ext>
            </a:extLst>
          </p:cNvPr>
          <p:cNvSpPr/>
          <p:nvPr/>
        </p:nvSpPr>
        <p:spPr>
          <a:xfrm rot="8268534" flipV="1">
            <a:off x="8508348" y="2120315"/>
            <a:ext cx="256178" cy="47508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2" name="Freeform 754">
            <a:extLst>
              <a:ext uri="{FF2B5EF4-FFF2-40B4-BE49-F238E27FC236}">
                <a16:creationId xmlns:a16="http://schemas.microsoft.com/office/drawing/2014/main" id="{EBEB3EE7-A69F-6193-C1E4-C9F82FEBFA38}"/>
              </a:ext>
            </a:extLst>
          </p:cNvPr>
          <p:cNvSpPr/>
          <p:nvPr/>
        </p:nvSpPr>
        <p:spPr>
          <a:xfrm rot="18139270" flipH="1">
            <a:off x="8621818" y="1737306"/>
            <a:ext cx="87288" cy="435297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3" name="Freeform 754">
            <a:extLst>
              <a:ext uri="{FF2B5EF4-FFF2-40B4-BE49-F238E27FC236}">
                <a16:creationId xmlns:a16="http://schemas.microsoft.com/office/drawing/2014/main" id="{56B6CCAA-2225-4B71-E261-A7A9D51367DC}"/>
              </a:ext>
            </a:extLst>
          </p:cNvPr>
          <p:cNvSpPr/>
          <p:nvPr/>
        </p:nvSpPr>
        <p:spPr>
          <a:xfrm rot="3460730" flipH="1" flipV="1">
            <a:off x="8264350" y="416048"/>
            <a:ext cx="533337" cy="51422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4" name="Freeform 754">
            <a:extLst>
              <a:ext uri="{FF2B5EF4-FFF2-40B4-BE49-F238E27FC236}">
                <a16:creationId xmlns:a16="http://schemas.microsoft.com/office/drawing/2014/main" id="{BB3F2369-93E9-1E4D-2BFE-77CFF3BA8CEB}"/>
              </a:ext>
            </a:extLst>
          </p:cNvPr>
          <p:cNvSpPr/>
          <p:nvPr/>
        </p:nvSpPr>
        <p:spPr>
          <a:xfrm rot="3460730" flipH="1" flipV="1">
            <a:off x="8547636" y="979139"/>
            <a:ext cx="279202" cy="30529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5" name="Freeform 754">
            <a:extLst>
              <a:ext uri="{FF2B5EF4-FFF2-40B4-BE49-F238E27FC236}">
                <a16:creationId xmlns:a16="http://schemas.microsoft.com/office/drawing/2014/main" id="{37AEEFC3-70DD-6E21-A915-CCC613F913BB}"/>
              </a:ext>
            </a:extLst>
          </p:cNvPr>
          <p:cNvSpPr/>
          <p:nvPr/>
        </p:nvSpPr>
        <p:spPr>
          <a:xfrm rot="3460730" flipH="1" flipV="1">
            <a:off x="8428528" y="1359550"/>
            <a:ext cx="380610" cy="399855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6" name="Freeform 754">
            <a:extLst>
              <a:ext uri="{FF2B5EF4-FFF2-40B4-BE49-F238E27FC236}">
                <a16:creationId xmlns:a16="http://schemas.microsoft.com/office/drawing/2014/main" id="{C3337DC1-EC98-4C70-B9A5-AD1E3164AC94}"/>
              </a:ext>
            </a:extLst>
          </p:cNvPr>
          <p:cNvSpPr/>
          <p:nvPr/>
        </p:nvSpPr>
        <p:spPr>
          <a:xfrm rot="7114806">
            <a:off x="10429859" y="2215642"/>
            <a:ext cx="158963" cy="2589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7" name="Freeform 754">
            <a:extLst>
              <a:ext uri="{FF2B5EF4-FFF2-40B4-BE49-F238E27FC236}">
                <a16:creationId xmlns:a16="http://schemas.microsoft.com/office/drawing/2014/main" id="{A825DAD5-796D-8F7E-6ED6-99045DFFF43C}"/>
              </a:ext>
            </a:extLst>
          </p:cNvPr>
          <p:cNvSpPr/>
          <p:nvPr/>
        </p:nvSpPr>
        <p:spPr>
          <a:xfrm rot="7114806">
            <a:off x="11673176" y="2225385"/>
            <a:ext cx="158963" cy="258979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8" name="Freeform 754">
            <a:extLst>
              <a:ext uri="{FF2B5EF4-FFF2-40B4-BE49-F238E27FC236}">
                <a16:creationId xmlns:a16="http://schemas.microsoft.com/office/drawing/2014/main" id="{D4B7DC9C-7CCD-0C78-8809-F2B0D890ADCB}"/>
              </a:ext>
            </a:extLst>
          </p:cNvPr>
          <p:cNvSpPr/>
          <p:nvPr/>
        </p:nvSpPr>
        <p:spPr>
          <a:xfrm rot="7114806" flipH="1" flipV="1">
            <a:off x="11224025" y="1979212"/>
            <a:ext cx="244220" cy="18215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89" name="Freeform 754">
            <a:extLst>
              <a:ext uri="{FF2B5EF4-FFF2-40B4-BE49-F238E27FC236}">
                <a16:creationId xmlns:a16="http://schemas.microsoft.com/office/drawing/2014/main" id="{96C02612-1545-92FA-80D1-DA82206E754F}"/>
              </a:ext>
            </a:extLst>
          </p:cNvPr>
          <p:cNvSpPr/>
          <p:nvPr/>
        </p:nvSpPr>
        <p:spPr>
          <a:xfrm rot="7114806" flipH="1" flipV="1">
            <a:off x="10694078" y="1795902"/>
            <a:ext cx="394813" cy="29847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296" name="Freeform 9">
            <a:extLst>
              <a:ext uri="{FF2B5EF4-FFF2-40B4-BE49-F238E27FC236}">
                <a16:creationId xmlns:a16="http://schemas.microsoft.com/office/drawing/2014/main" id="{16EA7DC5-C5CB-D54C-32A6-20DE0D5A4BD9}"/>
              </a:ext>
            </a:extLst>
          </p:cNvPr>
          <p:cNvSpPr>
            <a:spLocks noChangeAspect="1"/>
          </p:cNvSpPr>
          <p:nvPr/>
        </p:nvSpPr>
        <p:spPr>
          <a:xfrm rot="1091119">
            <a:off x="10160011" y="6171824"/>
            <a:ext cx="2426234" cy="436604"/>
          </a:xfrm>
          <a:custGeom>
            <a:avLst/>
            <a:gdLst>
              <a:gd name="connsiteX0" fmla="*/ 0 w 1362269"/>
              <a:gd name="connsiteY0" fmla="*/ 0 h 233999"/>
              <a:gd name="connsiteX1" fmla="*/ 1362269 w 1362269"/>
              <a:gd name="connsiteY1" fmla="*/ 0 h 233999"/>
              <a:gd name="connsiteX2" fmla="*/ 1362269 w 1362269"/>
              <a:gd name="connsiteY2" fmla="*/ 233999 h 233999"/>
              <a:gd name="connsiteX3" fmla="*/ 0 w 1362269"/>
              <a:gd name="connsiteY3" fmla="*/ 233999 h 233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2269" h="233999">
                <a:moveTo>
                  <a:pt x="0" y="0"/>
                </a:moveTo>
                <a:lnTo>
                  <a:pt x="1362269" y="0"/>
                </a:lnTo>
                <a:lnTo>
                  <a:pt x="1362269" y="233999"/>
                </a:lnTo>
                <a:lnTo>
                  <a:pt x="0" y="233999"/>
                </a:lnTo>
                <a:close/>
              </a:path>
            </a:pathLst>
          </a:custGeom>
          <a:solidFill>
            <a:schemeClr val="tx2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7" name="Freeform 10">
            <a:extLst>
              <a:ext uri="{FF2B5EF4-FFF2-40B4-BE49-F238E27FC236}">
                <a16:creationId xmlns:a16="http://schemas.microsoft.com/office/drawing/2014/main" id="{3A5731F3-7430-B809-3004-C915A55CBF64}"/>
              </a:ext>
            </a:extLst>
          </p:cNvPr>
          <p:cNvSpPr>
            <a:spLocks noChangeAspect="1"/>
          </p:cNvSpPr>
          <p:nvPr/>
        </p:nvSpPr>
        <p:spPr>
          <a:xfrm rot="1091119">
            <a:off x="11008768" y="6382147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8" name="Freeform 10">
            <a:extLst>
              <a:ext uri="{FF2B5EF4-FFF2-40B4-BE49-F238E27FC236}">
                <a16:creationId xmlns:a16="http://schemas.microsoft.com/office/drawing/2014/main" id="{863F17B6-308C-5C38-93C8-A640165381FE}"/>
              </a:ext>
            </a:extLst>
          </p:cNvPr>
          <p:cNvSpPr>
            <a:spLocks noChangeAspect="1"/>
          </p:cNvSpPr>
          <p:nvPr/>
        </p:nvSpPr>
        <p:spPr>
          <a:xfrm rot="1091119">
            <a:off x="10255055" y="6134552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sp>
        <p:nvSpPr>
          <p:cNvPr id="2299" name="Freeform 10">
            <a:extLst>
              <a:ext uri="{FF2B5EF4-FFF2-40B4-BE49-F238E27FC236}">
                <a16:creationId xmlns:a16="http://schemas.microsoft.com/office/drawing/2014/main" id="{E9B4507A-B240-65B4-F52D-25BAC3C2D794}"/>
              </a:ext>
            </a:extLst>
          </p:cNvPr>
          <p:cNvSpPr>
            <a:spLocks noChangeAspect="1"/>
          </p:cNvSpPr>
          <p:nvPr/>
        </p:nvSpPr>
        <p:spPr>
          <a:xfrm rot="1091119">
            <a:off x="11718907" y="6615427"/>
            <a:ext cx="754109" cy="14241"/>
          </a:xfrm>
          <a:custGeom>
            <a:avLst/>
            <a:gdLst>
              <a:gd name="connsiteX0" fmla="*/ 559649 w 613152"/>
              <a:gd name="connsiteY0" fmla="*/ 0 h 7995"/>
              <a:gd name="connsiteX1" fmla="*/ 559649 w 613152"/>
              <a:gd name="connsiteY1" fmla="*/ 7995 h 7995"/>
              <a:gd name="connsiteX2" fmla="*/ 613152 w 613152"/>
              <a:gd name="connsiteY2" fmla="*/ 7995 h 7995"/>
              <a:gd name="connsiteX3" fmla="*/ 613152 w 613152"/>
              <a:gd name="connsiteY3" fmla="*/ 0 h 7995"/>
              <a:gd name="connsiteX4" fmla="*/ 559649 w 613152"/>
              <a:gd name="connsiteY4" fmla="*/ 0 h 7995"/>
              <a:gd name="connsiteX5" fmla="*/ 479049 w 613152"/>
              <a:gd name="connsiteY5" fmla="*/ 0 h 7995"/>
              <a:gd name="connsiteX6" fmla="*/ 479049 w 613152"/>
              <a:gd name="connsiteY6" fmla="*/ 7995 h 7995"/>
              <a:gd name="connsiteX7" fmla="*/ 532552 w 613152"/>
              <a:gd name="connsiteY7" fmla="*/ 7995 h 7995"/>
              <a:gd name="connsiteX8" fmla="*/ 532552 w 613152"/>
              <a:gd name="connsiteY8" fmla="*/ 0 h 7995"/>
              <a:gd name="connsiteX9" fmla="*/ 479049 w 613152"/>
              <a:gd name="connsiteY9" fmla="*/ 0 h 7995"/>
              <a:gd name="connsiteX10" fmla="*/ 398449 w 613152"/>
              <a:gd name="connsiteY10" fmla="*/ 0 h 7995"/>
              <a:gd name="connsiteX11" fmla="*/ 398449 w 613152"/>
              <a:gd name="connsiteY11" fmla="*/ 7995 h 7995"/>
              <a:gd name="connsiteX12" fmla="*/ 451952 w 613152"/>
              <a:gd name="connsiteY12" fmla="*/ 7995 h 7995"/>
              <a:gd name="connsiteX13" fmla="*/ 451952 w 613152"/>
              <a:gd name="connsiteY13" fmla="*/ 0 h 7995"/>
              <a:gd name="connsiteX14" fmla="*/ 398449 w 613152"/>
              <a:gd name="connsiteY14" fmla="*/ 0 h 7995"/>
              <a:gd name="connsiteX15" fmla="*/ 317918 w 613152"/>
              <a:gd name="connsiteY15" fmla="*/ 0 h 7995"/>
              <a:gd name="connsiteX16" fmla="*/ 317918 w 613152"/>
              <a:gd name="connsiteY16" fmla="*/ 7995 h 7995"/>
              <a:gd name="connsiteX17" fmla="*/ 371421 w 613152"/>
              <a:gd name="connsiteY17" fmla="*/ 7995 h 7995"/>
              <a:gd name="connsiteX18" fmla="*/ 371421 w 613152"/>
              <a:gd name="connsiteY18" fmla="*/ 0 h 7995"/>
              <a:gd name="connsiteX19" fmla="*/ 317918 w 613152"/>
              <a:gd name="connsiteY19" fmla="*/ 0 h 7995"/>
              <a:gd name="connsiteX20" fmla="*/ 237318 w 613152"/>
              <a:gd name="connsiteY20" fmla="*/ 0 h 7995"/>
              <a:gd name="connsiteX21" fmla="*/ 237318 w 613152"/>
              <a:gd name="connsiteY21" fmla="*/ 7995 h 7995"/>
              <a:gd name="connsiteX22" fmla="*/ 290822 w 613152"/>
              <a:gd name="connsiteY22" fmla="*/ 7995 h 7995"/>
              <a:gd name="connsiteX23" fmla="*/ 290822 w 613152"/>
              <a:gd name="connsiteY23" fmla="*/ 0 h 7995"/>
              <a:gd name="connsiteX24" fmla="*/ 237318 w 613152"/>
              <a:gd name="connsiteY24" fmla="*/ 0 h 7995"/>
              <a:gd name="connsiteX25" fmla="*/ 156787 w 613152"/>
              <a:gd name="connsiteY25" fmla="*/ 0 h 7995"/>
              <a:gd name="connsiteX26" fmla="*/ 156787 w 613152"/>
              <a:gd name="connsiteY26" fmla="*/ 7995 h 7995"/>
              <a:gd name="connsiteX27" fmla="*/ 210291 w 613152"/>
              <a:gd name="connsiteY27" fmla="*/ 7995 h 7995"/>
              <a:gd name="connsiteX28" fmla="*/ 210291 w 613152"/>
              <a:gd name="connsiteY28" fmla="*/ 0 h 7995"/>
              <a:gd name="connsiteX29" fmla="*/ 156787 w 613152"/>
              <a:gd name="connsiteY29" fmla="*/ 0 h 7995"/>
              <a:gd name="connsiteX30" fmla="*/ 76187 w 613152"/>
              <a:gd name="connsiteY30" fmla="*/ 0 h 7995"/>
              <a:gd name="connsiteX31" fmla="*/ 76187 w 613152"/>
              <a:gd name="connsiteY31" fmla="*/ 7995 h 7995"/>
              <a:gd name="connsiteX32" fmla="*/ 129691 w 613152"/>
              <a:gd name="connsiteY32" fmla="*/ 7995 h 7995"/>
              <a:gd name="connsiteX33" fmla="*/ 129691 w 613152"/>
              <a:gd name="connsiteY33" fmla="*/ 0 h 7995"/>
              <a:gd name="connsiteX34" fmla="*/ 76187 w 613152"/>
              <a:gd name="connsiteY34" fmla="*/ 0 h 7995"/>
              <a:gd name="connsiteX35" fmla="*/ 0 w 613152"/>
              <a:gd name="connsiteY35" fmla="*/ 0 h 7995"/>
              <a:gd name="connsiteX36" fmla="*/ 0 w 613152"/>
              <a:gd name="connsiteY36" fmla="*/ 7995 h 7995"/>
              <a:gd name="connsiteX37" fmla="*/ 49091 w 613152"/>
              <a:gd name="connsiteY37" fmla="*/ 7995 h 7995"/>
              <a:gd name="connsiteX38" fmla="*/ 49091 w 613152"/>
              <a:gd name="connsiteY38" fmla="*/ 0 h 7995"/>
              <a:gd name="connsiteX39" fmla="*/ 0 w 613152"/>
              <a:gd name="connsiteY39" fmla="*/ 0 h 7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13152" h="7995">
                <a:moveTo>
                  <a:pt x="559649" y="0"/>
                </a:moveTo>
                <a:cubicBezTo>
                  <a:pt x="559649" y="1792"/>
                  <a:pt x="559649" y="6203"/>
                  <a:pt x="559649" y="7995"/>
                </a:cubicBezTo>
                <a:cubicBezTo>
                  <a:pt x="562200" y="7995"/>
                  <a:pt x="610601" y="7995"/>
                  <a:pt x="613152" y="7995"/>
                </a:cubicBezTo>
                <a:cubicBezTo>
                  <a:pt x="613152" y="6203"/>
                  <a:pt x="613152" y="1792"/>
                  <a:pt x="613152" y="0"/>
                </a:cubicBezTo>
                <a:cubicBezTo>
                  <a:pt x="610532" y="0"/>
                  <a:pt x="562200" y="0"/>
                  <a:pt x="559649" y="0"/>
                </a:cubicBezTo>
                <a:close/>
                <a:moveTo>
                  <a:pt x="479049" y="0"/>
                </a:moveTo>
                <a:cubicBezTo>
                  <a:pt x="479049" y="1792"/>
                  <a:pt x="479049" y="6203"/>
                  <a:pt x="479049" y="7995"/>
                </a:cubicBezTo>
                <a:cubicBezTo>
                  <a:pt x="481600" y="7995"/>
                  <a:pt x="530001" y="7995"/>
                  <a:pt x="532552" y="7995"/>
                </a:cubicBezTo>
                <a:cubicBezTo>
                  <a:pt x="532552" y="6203"/>
                  <a:pt x="532552" y="1792"/>
                  <a:pt x="532552" y="0"/>
                </a:cubicBezTo>
                <a:cubicBezTo>
                  <a:pt x="530001" y="0"/>
                  <a:pt x="481600" y="0"/>
                  <a:pt x="479049" y="0"/>
                </a:cubicBezTo>
                <a:close/>
                <a:moveTo>
                  <a:pt x="398449" y="0"/>
                </a:moveTo>
                <a:cubicBezTo>
                  <a:pt x="398449" y="1792"/>
                  <a:pt x="398449" y="6203"/>
                  <a:pt x="398449" y="7995"/>
                </a:cubicBezTo>
                <a:cubicBezTo>
                  <a:pt x="401000" y="7995"/>
                  <a:pt x="449401" y="7995"/>
                  <a:pt x="451952" y="7995"/>
                </a:cubicBezTo>
                <a:cubicBezTo>
                  <a:pt x="451952" y="6203"/>
                  <a:pt x="451952" y="1792"/>
                  <a:pt x="451952" y="0"/>
                </a:cubicBezTo>
                <a:cubicBezTo>
                  <a:pt x="449401" y="0"/>
                  <a:pt x="401069" y="0"/>
                  <a:pt x="398449" y="0"/>
                </a:cubicBezTo>
                <a:close/>
                <a:moveTo>
                  <a:pt x="317918" y="0"/>
                </a:moveTo>
                <a:cubicBezTo>
                  <a:pt x="317918" y="1792"/>
                  <a:pt x="317918" y="6203"/>
                  <a:pt x="317918" y="7995"/>
                </a:cubicBezTo>
                <a:cubicBezTo>
                  <a:pt x="320469" y="7995"/>
                  <a:pt x="368870" y="7995"/>
                  <a:pt x="371421" y="7995"/>
                </a:cubicBezTo>
                <a:cubicBezTo>
                  <a:pt x="371421" y="6203"/>
                  <a:pt x="371421" y="1792"/>
                  <a:pt x="371421" y="0"/>
                </a:cubicBezTo>
                <a:cubicBezTo>
                  <a:pt x="368801" y="0"/>
                  <a:pt x="320469" y="0"/>
                  <a:pt x="317918" y="0"/>
                </a:cubicBezTo>
                <a:close/>
                <a:moveTo>
                  <a:pt x="237318" y="0"/>
                </a:moveTo>
                <a:cubicBezTo>
                  <a:pt x="237318" y="1792"/>
                  <a:pt x="237318" y="6203"/>
                  <a:pt x="237318" y="7995"/>
                </a:cubicBezTo>
                <a:cubicBezTo>
                  <a:pt x="239869" y="7995"/>
                  <a:pt x="288270" y="7995"/>
                  <a:pt x="290822" y="7995"/>
                </a:cubicBezTo>
                <a:cubicBezTo>
                  <a:pt x="290822" y="6203"/>
                  <a:pt x="290822" y="1792"/>
                  <a:pt x="290822" y="0"/>
                </a:cubicBezTo>
                <a:cubicBezTo>
                  <a:pt x="288270" y="0"/>
                  <a:pt x="239869" y="0"/>
                  <a:pt x="237318" y="0"/>
                </a:cubicBezTo>
                <a:close/>
                <a:moveTo>
                  <a:pt x="156787" y="0"/>
                </a:moveTo>
                <a:cubicBezTo>
                  <a:pt x="156787" y="1792"/>
                  <a:pt x="156787" y="6203"/>
                  <a:pt x="156787" y="7995"/>
                </a:cubicBezTo>
                <a:cubicBezTo>
                  <a:pt x="159338" y="7995"/>
                  <a:pt x="207740" y="7995"/>
                  <a:pt x="210291" y="7995"/>
                </a:cubicBezTo>
                <a:cubicBezTo>
                  <a:pt x="210291" y="6203"/>
                  <a:pt x="210291" y="1792"/>
                  <a:pt x="210291" y="0"/>
                </a:cubicBezTo>
                <a:cubicBezTo>
                  <a:pt x="207671" y="0"/>
                  <a:pt x="159338" y="0"/>
                  <a:pt x="156787" y="0"/>
                </a:cubicBezTo>
                <a:close/>
                <a:moveTo>
                  <a:pt x="76187" y="0"/>
                </a:moveTo>
                <a:cubicBezTo>
                  <a:pt x="76187" y="1792"/>
                  <a:pt x="76187" y="6203"/>
                  <a:pt x="76187" y="7995"/>
                </a:cubicBezTo>
                <a:cubicBezTo>
                  <a:pt x="78738" y="7995"/>
                  <a:pt x="127140" y="7995"/>
                  <a:pt x="129691" y="7995"/>
                </a:cubicBezTo>
                <a:cubicBezTo>
                  <a:pt x="129691" y="6203"/>
                  <a:pt x="129691" y="1792"/>
                  <a:pt x="129691" y="0"/>
                </a:cubicBezTo>
                <a:cubicBezTo>
                  <a:pt x="127071" y="0"/>
                  <a:pt x="78738" y="0"/>
                  <a:pt x="76187" y="0"/>
                </a:cubicBezTo>
                <a:close/>
                <a:moveTo>
                  <a:pt x="0" y="0"/>
                </a:moveTo>
                <a:cubicBezTo>
                  <a:pt x="0" y="1792"/>
                  <a:pt x="0" y="6203"/>
                  <a:pt x="0" y="7995"/>
                </a:cubicBezTo>
                <a:cubicBezTo>
                  <a:pt x="2551" y="7995"/>
                  <a:pt x="46540" y="7995"/>
                  <a:pt x="49091" y="7995"/>
                </a:cubicBezTo>
                <a:cubicBezTo>
                  <a:pt x="49091" y="6203"/>
                  <a:pt x="49091" y="1792"/>
                  <a:pt x="49091" y="0"/>
                </a:cubicBezTo>
                <a:cubicBezTo>
                  <a:pt x="46540" y="0"/>
                  <a:pt x="2551" y="0"/>
                  <a:pt x="0" y="0"/>
                </a:cubicBezTo>
                <a:close/>
              </a:path>
            </a:pathLst>
          </a:custGeom>
          <a:solidFill>
            <a:schemeClr val="accent4"/>
          </a:solidFill>
          <a:ln w="6891" cap="flat">
            <a:noFill/>
            <a:prstDash val="solid"/>
            <a:miter/>
          </a:ln>
        </p:spPr>
        <p:txBody>
          <a:bodyPr rtlCol="0" anchor="ctr"/>
          <a:lstStyle/>
          <a:p>
            <a:endParaRPr lang="nl-NL"/>
          </a:p>
        </p:txBody>
      </p:sp>
      <p:grpSp>
        <p:nvGrpSpPr>
          <p:cNvPr id="16" name="Graphic 3">
            <a:extLst>
              <a:ext uri="{FF2B5EF4-FFF2-40B4-BE49-F238E27FC236}">
                <a16:creationId xmlns:a16="http://schemas.microsoft.com/office/drawing/2014/main" id="{54A49E86-F6EF-B400-A8B1-467005C5B2F9}"/>
              </a:ext>
            </a:extLst>
          </p:cNvPr>
          <p:cNvGrpSpPr/>
          <p:nvPr/>
        </p:nvGrpSpPr>
        <p:grpSpPr>
          <a:xfrm>
            <a:off x="1861643" y="4721014"/>
            <a:ext cx="502352" cy="964853"/>
            <a:chOff x="1861643" y="4367105"/>
            <a:chExt cx="502352" cy="964853"/>
          </a:xfrm>
          <a:solidFill>
            <a:schemeClr val="accent2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95FB65E-037A-926A-26BA-05CAB74F50E4}"/>
                </a:ext>
              </a:extLst>
            </p:cNvPr>
            <p:cNvSpPr/>
            <p:nvPr/>
          </p:nvSpPr>
          <p:spPr>
            <a:xfrm>
              <a:off x="1861643" y="4367105"/>
              <a:ext cx="502352" cy="964853"/>
            </a:xfrm>
            <a:custGeom>
              <a:avLst/>
              <a:gdLst>
                <a:gd name="connsiteX0" fmla="*/ 473654 w 502352"/>
                <a:gd name="connsiteY0" fmla="*/ 788 h 964853"/>
                <a:gd name="connsiteX1" fmla="*/ 432981 w 502352"/>
                <a:gd name="connsiteY1" fmla="*/ 28235 h 964853"/>
                <a:gd name="connsiteX2" fmla="*/ 391275 w 502352"/>
                <a:gd name="connsiteY2" fmla="*/ 181796 h 964853"/>
                <a:gd name="connsiteX3" fmla="*/ 299760 w 502352"/>
                <a:gd name="connsiteY3" fmla="*/ 241773 h 964853"/>
                <a:gd name="connsiteX4" fmla="*/ 202128 w 502352"/>
                <a:gd name="connsiteY4" fmla="*/ 241773 h 964853"/>
                <a:gd name="connsiteX5" fmla="*/ 110614 w 502352"/>
                <a:gd name="connsiteY5" fmla="*/ 181796 h 964853"/>
                <a:gd name="connsiteX6" fmla="*/ 68908 w 502352"/>
                <a:gd name="connsiteY6" fmla="*/ 28235 h 964853"/>
                <a:gd name="connsiteX7" fmla="*/ 28235 w 502352"/>
                <a:gd name="connsiteY7" fmla="*/ 788 h 964853"/>
                <a:gd name="connsiteX8" fmla="*/ 788 w 502352"/>
                <a:gd name="connsiteY8" fmla="*/ 41461 h 964853"/>
                <a:gd name="connsiteX9" fmla="*/ 46546 w 502352"/>
                <a:gd name="connsiteY9" fmla="*/ 208201 h 964853"/>
                <a:gd name="connsiteX10" fmla="*/ 144177 w 502352"/>
                <a:gd name="connsiteY10" fmla="*/ 301741 h 964853"/>
                <a:gd name="connsiteX11" fmla="*/ 155379 w 502352"/>
                <a:gd name="connsiteY11" fmla="*/ 316993 h 964853"/>
                <a:gd name="connsiteX12" fmla="*/ 160463 w 502352"/>
                <a:gd name="connsiteY12" fmla="*/ 581369 h 964853"/>
                <a:gd name="connsiteX13" fmla="*/ 129958 w 502352"/>
                <a:gd name="connsiteY13" fmla="*/ 915885 h 964853"/>
                <a:gd name="connsiteX14" fmla="*/ 170631 w 502352"/>
                <a:gd name="connsiteY14" fmla="*/ 964701 h 964853"/>
                <a:gd name="connsiteX15" fmla="*/ 219447 w 502352"/>
                <a:gd name="connsiteY15" fmla="*/ 924028 h 964853"/>
                <a:gd name="connsiteX16" fmla="*/ 249952 w 502352"/>
                <a:gd name="connsiteY16" fmla="*/ 596619 h 964853"/>
                <a:gd name="connsiteX17" fmla="*/ 253011 w 502352"/>
                <a:gd name="connsiteY17" fmla="*/ 596619 h 964853"/>
                <a:gd name="connsiteX18" fmla="*/ 283515 w 502352"/>
                <a:gd name="connsiteY18" fmla="*/ 924028 h 964853"/>
                <a:gd name="connsiteX19" fmla="*/ 328240 w 502352"/>
                <a:gd name="connsiteY19" fmla="*/ 964701 h 964853"/>
                <a:gd name="connsiteX20" fmla="*/ 332291 w 502352"/>
                <a:gd name="connsiteY20" fmla="*/ 964701 h 964853"/>
                <a:gd name="connsiteX21" fmla="*/ 372964 w 502352"/>
                <a:gd name="connsiteY21" fmla="*/ 915885 h 964853"/>
                <a:gd name="connsiteX22" fmla="*/ 342459 w 502352"/>
                <a:gd name="connsiteY22" fmla="*/ 581369 h 964853"/>
                <a:gd name="connsiteX23" fmla="*/ 347543 w 502352"/>
                <a:gd name="connsiteY23" fmla="*/ 316993 h 964853"/>
                <a:gd name="connsiteX24" fmla="*/ 358744 w 502352"/>
                <a:gd name="connsiteY24" fmla="*/ 301741 h 964853"/>
                <a:gd name="connsiteX25" fmla="*/ 456376 w 502352"/>
                <a:gd name="connsiteY25" fmla="*/ 208201 h 964853"/>
                <a:gd name="connsiteX26" fmla="*/ 502133 w 502352"/>
                <a:gd name="connsiteY26" fmla="*/ 41461 h 964853"/>
                <a:gd name="connsiteX27" fmla="*/ 473654 w 502352"/>
                <a:gd name="connsiteY27" fmla="*/ 788 h 964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02352" h="964853">
                  <a:moveTo>
                    <a:pt x="473654" y="788"/>
                  </a:moveTo>
                  <a:cubicBezTo>
                    <a:pt x="454351" y="-3263"/>
                    <a:pt x="436040" y="9924"/>
                    <a:pt x="432981" y="28235"/>
                  </a:cubicBezTo>
                  <a:cubicBezTo>
                    <a:pt x="432981" y="29267"/>
                    <a:pt x="412644" y="129917"/>
                    <a:pt x="391275" y="181796"/>
                  </a:cubicBezTo>
                  <a:cubicBezTo>
                    <a:pt x="373997" y="222469"/>
                    <a:pt x="344484" y="241773"/>
                    <a:pt x="299760" y="241773"/>
                  </a:cubicBezTo>
                  <a:lnTo>
                    <a:pt x="202128" y="241773"/>
                  </a:lnTo>
                  <a:cubicBezTo>
                    <a:pt x="157404" y="241773"/>
                    <a:pt x="126899" y="222469"/>
                    <a:pt x="110614" y="181796"/>
                  </a:cubicBezTo>
                  <a:cubicBezTo>
                    <a:pt x="89244" y="129921"/>
                    <a:pt x="68908" y="29272"/>
                    <a:pt x="68908" y="28235"/>
                  </a:cubicBezTo>
                  <a:cubicBezTo>
                    <a:pt x="64857" y="8931"/>
                    <a:pt x="46546" y="-3303"/>
                    <a:pt x="28235" y="788"/>
                  </a:cubicBezTo>
                  <a:cubicBezTo>
                    <a:pt x="8931" y="4840"/>
                    <a:pt x="-3303" y="23150"/>
                    <a:pt x="788" y="41461"/>
                  </a:cubicBezTo>
                  <a:cubicBezTo>
                    <a:pt x="1821" y="45513"/>
                    <a:pt x="22158" y="150252"/>
                    <a:pt x="46546" y="208201"/>
                  </a:cubicBezTo>
                  <a:cubicBezTo>
                    <a:pt x="66882" y="255984"/>
                    <a:pt x="100446" y="287522"/>
                    <a:pt x="144177" y="301741"/>
                  </a:cubicBezTo>
                  <a:cubicBezTo>
                    <a:pt x="150295" y="303767"/>
                    <a:pt x="155379" y="309884"/>
                    <a:pt x="155379" y="316993"/>
                  </a:cubicBezTo>
                  <a:lnTo>
                    <a:pt x="160463" y="581369"/>
                  </a:lnTo>
                  <a:lnTo>
                    <a:pt x="129958" y="915885"/>
                  </a:lnTo>
                  <a:cubicBezTo>
                    <a:pt x="127933" y="940272"/>
                    <a:pt x="146244" y="962675"/>
                    <a:pt x="170631" y="964701"/>
                  </a:cubicBezTo>
                  <a:cubicBezTo>
                    <a:pt x="195019" y="966726"/>
                    <a:pt x="217422" y="948415"/>
                    <a:pt x="219447" y="924028"/>
                  </a:cubicBezTo>
                  <a:lnTo>
                    <a:pt x="249952" y="596619"/>
                  </a:lnTo>
                  <a:lnTo>
                    <a:pt x="253011" y="596619"/>
                  </a:lnTo>
                  <a:lnTo>
                    <a:pt x="283515" y="924028"/>
                  </a:lnTo>
                  <a:cubicBezTo>
                    <a:pt x="285541" y="947423"/>
                    <a:pt x="304885" y="964701"/>
                    <a:pt x="328240" y="964701"/>
                  </a:cubicBezTo>
                  <a:lnTo>
                    <a:pt x="332291" y="964701"/>
                  </a:lnTo>
                  <a:cubicBezTo>
                    <a:pt x="356678" y="962675"/>
                    <a:pt x="374989" y="940313"/>
                    <a:pt x="372964" y="915885"/>
                  </a:cubicBezTo>
                  <a:lnTo>
                    <a:pt x="342459" y="581369"/>
                  </a:lnTo>
                  <a:lnTo>
                    <a:pt x="347543" y="316993"/>
                  </a:lnTo>
                  <a:cubicBezTo>
                    <a:pt x="347543" y="309884"/>
                    <a:pt x="352627" y="303767"/>
                    <a:pt x="358744" y="301741"/>
                  </a:cubicBezTo>
                  <a:cubicBezTo>
                    <a:pt x="403469" y="287522"/>
                    <a:pt x="437032" y="254951"/>
                    <a:pt x="456376" y="208201"/>
                  </a:cubicBezTo>
                  <a:cubicBezTo>
                    <a:pt x="480764" y="149217"/>
                    <a:pt x="501100" y="45508"/>
                    <a:pt x="502133" y="41461"/>
                  </a:cubicBezTo>
                  <a:cubicBezTo>
                    <a:pt x="504159" y="22118"/>
                    <a:pt x="491965" y="3807"/>
                    <a:pt x="473654" y="788"/>
                  </a:cubicBezTo>
                  <a:close/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1C15ABE-D055-6F20-3E4F-DD56CE42DB20}"/>
                </a:ext>
              </a:extLst>
            </p:cNvPr>
            <p:cNvSpPr/>
            <p:nvPr/>
          </p:nvSpPr>
          <p:spPr>
            <a:xfrm>
              <a:off x="2014996" y="4380089"/>
              <a:ext cx="193197" cy="193197"/>
            </a:xfrm>
            <a:custGeom>
              <a:avLst/>
              <a:gdLst>
                <a:gd name="connsiteX0" fmla="*/ 193197 w 193197"/>
                <a:gd name="connsiteY0" fmla="*/ 96599 h 193197"/>
                <a:gd name="connsiteX1" fmla="*/ 96599 w 193197"/>
                <a:gd name="connsiteY1" fmla="*/ 193197 h 193197"/>
                <a:gd name="connsiteX2" fmla="*/ 0 w 193197"/>
                <a:gd name="connsiteY2" fmla="*/ 96599 h 193197"/>
                <a:gd name="connsiteX3" fmla="*/ 96599 w 193197"/>
                <a:gd name="connsiteY3" fmla="*/ 0 h 193197"/>
                <a:gd name="connsiteX4" fmla="*/ 193197 w 193197"/>
                <a:gd name="connsiteY4" fmla="*/ 96599 h 193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3197" h="193197">
                  <a:moveTo>
                    <a:pt x="193197" y="96599"/>
                  </a:moveTo>
                  <a:cubicBezTo>
                    <a:pt x="193197" y="149942"/>
                    <a:pt x="149942" y="193197"/>
                    <a:pt x="96599" y="193197"/>
                  </a:cubicBezTo>
                  <a:cubicBezTo>
                    <a:pt x="43255" y="193197"/>
                    <a:pt x="0" y="149942"/>
                    <a:pt x="0" y="96599"/>
                  </a:cubicBezTo>
                  <a:cubicBezTo>
                    <a:pt x="0" y="43255"/>
                    <a:pt x="43255" y="0"/>
                    <a:pt x="96599" y="0"/>
                  </a:cubicBezTo>
                  <a:cubicBezTo>
                    <a:pt x="149942" y="0"/>
                    <a:pt x="193197" y="43255"/>
                    <a:pt x="193197" y="96599"/>
                  </a:cubicBezTo>
                </a:path>
              </a:pathLst>
            </a:custGeom>
            <a:grpFill/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30ED5AED-039E-7DEB-B5B3-2F93054CE1AA}"/>
              </a:ext>
            </a:extLst>
          </p:cNvPr>
          <p:cNvSpPr/>
          <p:nvPr/>
        </p:nvSpPr>
        <p:spPr>
          <a:xfrm>
            <a:off x="2291447" y="5146162"/>
            <a:ext cx="143674" cy="143674"/>
          </a:xfrm>
          <a:custGeom>
            <a:avLst/>
            <a:gdLst>
              <a:gd name="connsiteX0" fmla="*/ 173084 w 346321"/>
              <a:gd name="connsiteY0" fmla="*/ 346321 h 346321"/>
              <a:gd name="connsiteX1" fmla="*/ 216393 w 346321"/>
              <a:gd name="connsiteY1" fmla="*/ 216393 h 346321"/>
              <a:gd name="connsiteX2" fmla="*/ 346321 w 346321"/>
              <a:gd name="connsiteY2" fmla="*/ 173084 h 346321"/>
              <a:gd name="connsiteX3" fmla="*/ 216393 w 346321"/>
              <a:gd name="connsiteY3" fmla="*/ 129776 h 346321"/>
              <a:gd name="connsiteX4" fmla="*/ 173084 w 346321"/>
              <a:gd name="connsiteY4" fmla="*/ 0 h 346321"/>
              <a:gd name="connsiteX5" fmla="*/ 129776 w 346321"/>
              <a:gd name="connsiteY5" fmla="*/ 129776 h 346321"/>
              <a:gd name="connsiteX6" fmla="*/ 0 w 346321"/>
              <a:gd name="connsiteY6" fmla="*/ 173084 h 346321"/>
              <a:gd name="connsiteX7" fmla="*/ 129776 w 346321"/>
              <a:gd name="connsiteY7" fmla="*/ 216393 h 346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321" h="346321">
                <a:moveTo>
                  <a:pt x="173084" y="346321"/>
                </a:moveTo>
                <a:lnTo>
                  <a:pt x="216393" y="216393"/>
                </a:lnTo>
                <a:lnTo>
                  <a:pt x="346321" y="173084"/>
                </a:lnTo>
                <a:lnTo>
                  <a:pt x="216393" y="129776"/>
                </a:lnTo>
                <a:lnTo>
                  <a:pt x="173084" y="0"/>
                </a:lnTo>
                <a:lnTo>
                  <a:pt x="129776" y="129776"/>
                </a:lnTo>
                <a:lnTo>
                  <a:pt x="0" y="173084"/>
                </a:lnTo>
                <a:lnTo>
                  <a:pt x="129776" y="216393"/>
                </a:ln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EF921E82-5289-DFFF-8140-F8F78FA7C4C0}"/>
              </a:ext>
            </a:extLst>
          </p:cNvPr>
          <p:cNvSpPr/>
          <p:nvPr/>
        </p:nvSpPr>
        <p:spPr>
          <a:xfrm>
            <a:off x="1701282" y="4990676"/>
            <a:ext cx="223044" cy="223047"/>
          </a:xfrm>
          <a:custGeom>
            <a:avLst/>
            <a:gdLst>
              <a:gd name="connsiteX0" fmla="*/ 216545 w 346321"/>
              <a:gd name="connsiteY0" fmla="*/ 129929 h 346325"/>
              <a:gd name="connsiteX1" fmla="*/ 173237 w 346321"/>
              <a:gd name="connsiteY1" fmla="*/ 0 h 346325"/>
              <a:gd name="connsiteX2" fmla="*/ 129929 w 346321"/>
              <a:gd name="connsiteY2" fmla="*/ 129929 h 346325"/>
              <a:gd name="connsiteX3" fmla="*/ 0 w 346321"/>
              <a:gd name="connsiteY3" fmla="*/ 173088 h 346325"/>
              <a:gd name="connsiteX4" fmla="*/ 129929 w 346321"/>
              <a:gd name="connsiteY4" fmla="*/ 216397 h 346325"/>
              <a:gd name="connsiteX5" fmla="*/ 173237 w 346321"/>
              <a:gd name="connsiteY5" fmla="*/ 346325 h 346325"/>
              <a:gd name="connsiteX6" fmla="*/ 216545 w 346321"/>
              <a:gd name="connsiteY6" fmla="*/ 216397 h 346325"/>
              <a:gd name="connsiteX7" fmla="*/ 346322 w 346321"/>
              <a:gd name="connsiteY7" fmla="*/ 173088 h 34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6321" h="346325">
                <a:moveTo>
                  <a:pt x="216545" y="129929"/>
                </a:moveTo>
                <a:lnTo>
                  <a:pt x="173237" y="0"/>
                </a:lnTo>
                <a:lnTo>
                  <a:pt x="129929" y="129929"/>
                </a:lnTo>
                <a:lnTo>
                  <a:pt x="0" y="173088"/>
                </a:lnTo>
                <a:lnTo>
                  <a:pt x="129929" y="216397"/>
                </a:lnTo>
                <a:lnTo>
                  <a:pt x="173237" y="346325"/>
                </a:lnTo>
                <a:lnTo>
                  <a:pt x="216545" y="216397"/>
                </a:lnTo>
                <a:lnTo>
                  <a:pt x="346322" y="173088"/>
                </a:lnTo>
                <a:close/>
              </a:path>
            </a:pathLst>
          </a:custGeom>
          <a:solidFill>
            <a:schemeClr val="accent2"/>
          </a:solidFill>
          <a:ln w="381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52C65C3-77E2-141A-08EF-5D63DDCA1797}"/>
              </a:ext>
            </a:extLst>
          </p:cNvPr>
          <p:cNvSpPr txBox="1"/>
          <p:nvPr/>
        </p:nvSpPr>
        <p:spPr>
          <a:xfrm>
            <a:off x="10082641" y="5175718"/>
            <a:ext cx="99700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heb een nieuwe baan</a:t>
            </a:r>
          </a:p>
        </p:txBody>
      </p:sp>
      <p:sp>
        <p:nvSpPr>
          <p:cNvPr id="32" name="Freeform 754">
            <a:extLst>
              <a:ext uri="{FF2B5EF4-FFF2-40B4-BE49-F238E27FC236}">
                <a16:creationId xmlns:a16="http://schemas.microsoft.com/office/drawing/2014/main" id="{2B061397-B0E4-FBA6-37F1-565DBC925856}"/>
              </a:ext>
            </a:extLst>
          </p:cNvPr>
          <p:cNvSpPr/>
          <p:nvPr/>
        </p:nvSpPr>
        <p:spPr>
          <a:xfrm rot="18139270" flipV="1">
            <a:off x="9839185" y="5555477"/>
            <a:ext cx="485587" cy="5905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3" name="TextBox 2231">
            <a:extLst>
              <a:ext uri="{FF2B5EF4-FFF2-40B4-BE49-F238E27FC236}">
                <a16:creationId xmlns:a16="http://schemas.microsoft.com/office/drawing/2014/main" id="{F014301E-A3FB-DC6F-454D-CCD0A26CBF95}"/>
              </a:ext>
            </a:extLst>
          </p:cNvPr>
          <p:cNvSpPr txBox="1"/>
          <p:nvPr/>
        </p:nvSpPr>
        <p:spPr>
          <a:xfrm>
            <a:off x="10879425" y="5339862"/>
            <a:ext cx="1280406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ontvang en teken een vaststelling-overeenkomst</a:t>
            </a:r>
          </a:p>
        </p:txBody>
      </p:sp>
      <p:sp>
        <p:nvSpPr>
          <p:cNvPr id="34" name="TextBox 2232">
            <a:extLst>
              <a:ext uri="{FF2B5EF4-FFF2-40B4-BE49-F238E27FC236}">
                <a16:creationId xmlns:a16="http://schemas.microsoft.com/office/drawing/2014/main" id="{34066B02-C0B1-A3B3-CBD7-8C3CA88D115E}"/>
              </a:ext>
            </a:extLst>
          </p:cNvPr>
          <p:cNvSpPr txBox="1"/>
          <p:nvPr/>
        </p:nvSpPr>
        <p:spPr>
          <a:xfrm>
            <a:off x="11451056" y="5844231"/>
            <a:ext cx="774716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/>
              <a:t>Ik neem afscheid</a:t>
            </a:r>
          </a:p>
        </p:txBody>
      </p:sp>
      <p:sp>
        <p:nvSpPr>
          <p:cNvPr id="35" name="Freeform 754">
            <a:extLst>
              <a:ext uri="{FF2B5EF4-FFF2-40B4-BE49-F238E27FC236}">
                <a16:creationId xmlns:a16="http://schemas.microsoft.com/office/drawing/2014/main" id="{E622C750-84E4-3D14-F705-DBEAA8490061}"/>
              </a:ext>
            </a:extLst>
          </p:cNvPr>
          <p:cNvSpPr/>
          <p:nvPr/>
        </p:nvSpPr>
        <p:spPr>
          <a:xfrm rot="7114806" flipH="1" flipV="1">
            <a:off x="11768945" y="6272619"/>
            <a:ext cx="244220" cy="182158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7" name="Freeform 754">
            <a:extLst>
              <a:ext uri="{FF2B5EF4-FFF2-40B4-BE49-F238E27FC236}">
                <a16:creationId xmlns:a16="http://schemas.microsoft.com/office/drawing/2014/main" id="{8927429F-ED1F-CE41-84B3-0B946A2E1778}"/>
              </a:ext>
            </a:extLst>
          </p:cNvPr>
          <p:cNvSpPr/>
          <p:nvPr/>
        </p:nvSpPr>
        <p:spPr>
          <a:xfrm rot="18139270" flipV="1">
            <a:off x="10689204" y="5951742"/>
            <a:ext cx="485587" cy="59056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A6A0C23-57A0-A9B0-1A58-1695AAB97CF6}"/>
              </a:ext>
            </a:extLst>
          </p:cNvPr>
          <p:cNvPicPr>
            <a:picLocks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55291" y="3776218"/>
            <a:ext cx="1543148" cy="15431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2230">
            <a:extLst>
              <a:ext uri="{FF2B5EF4-FFF2-40B4-BE49-F238E27FC236}">
                <a16:creationId xmlns:a16="http://schemas.microsoft.com/office/drawing/2014/main" id="{85E71296-3635-8285-7AF9-7CB2426B3CF4}"/>
              </a:ext>
            </a:extLst>
          </p:cNvPr>
          <p:cNvSpPr txBox="1"/>
          <p:nvPr/>
        </p:nvSpPr>
        <p:spPr>
          <a:xfrm>
            <a:off x="10069892" y="3613737"/>
            <a:ext cx="2338343" cy="276999"/>
          </a:xfrm>
          <a:prstGeom prst="rect">
            <a:avLst/>
          </a:prstGeom>
          <a:noFill/>
          <a:effectLst/>
        </p:spPr>
        <p:txBody>
          <a:bodyPr wrap="square" anchor="ctr">
            <a:spAutoFit/>
          </a:bodyPr>
          <a:lstStyle>
            <a:defPPr>
              <a:defRPr lang="en-US"/>
            </a:defPPr>
            <a:lvl1pPr algn="ctr">
              <a:defRPr sz="1200" b="1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Ik heb een nieuwe baa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3" name="Freeform: Shape 2187">
            <a:extLst>
              <a:ext uri="{FF2B5EF4-FFF2-40B4-BE49-F238E27FC236}">
                <a16:creationId xmlns:a16="http://schemas.microsoft.com/office/drawing/2014/main" id="{8378884B-CFAA-49DA-E5C9-B0792373F5AE}"/>
              </a:ext>
            </a:extLst>
          </p:cNvPr>
          <p:cNvSpPr/>
          <p:nvPr/>
        </p:nvSpPr>
        <p:spPr>
          <a:xfrm>
            <a:off x="3324738" y="689047"/>
            <a:ext cx="106618" cy="150218"/>
          </a:xfrm>
          <a:custGeom>
            <a:avLst/>
            <a:gdLst>
              <a:gd name="connsiteX0" fmla="*/ 47758 w 106618"/>
              <a:gd name="connsiteY0" fmla="*/ 142147 h 150218"/>
              <a:gd name="connsiteX1" fmla="*/ 105130 w 106618"/>
              <a:gd name="connsiteY1" fmla="*/ 31100 h 150218"/>
              <a:gd name="connsiteX2" fmla="*/ 99575 w 106618"/>
              <a:gd name="connsiteY2" fmla="*/ 12592 h 150218"/>
              <a:gd name="connsiteX3" fmla="*/ 77369 w 106618"/>
              <a:gd name="connsiteY3" fmla="*/ 1489 h 150218"/>
              <a:gd name="connsiteX4" fmla="*/ 58861 w 106618"/>
              <a:gd name="connsiteY4" fmla="*/ 7043 h 150218"/>
              <a:gd name="connsiteX5" fmla="*/ 1489 w 106618"/>
              <a:gd name="connsiteY5" fmla="*/ 119939 h 150218"/>
              <a:gd name="connsiteX6" fmla="*/ 7044 w 106618"/>
              <a:gd name="connsiteY6" fmla="*/ 138447 h 150218"/>
              <a:gd name="connsiteX7" fmla="*/ 29250 w 106618"/>
              <a:gd name="connsiteY7" fmla="*/ 149551 h 150218"/>
              <a:gd name="connsiteX8" fmla="*/ 47758 w 106618"/>
              <a:gd name="connsiteY8" fmla="*/ 142147 h 150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6618" h="150218">
                <a:moveTo>
                  <a:pt x="47758" y="142147"/>
                </a:moveTo>
                <a:lnTo>
                  <a:pt x="105130" y="31100"/>
                </a:lnTo>
                <a:cubicBezTo>
                  <a:pt x="108829" y="23696"/>
                  <a:pt x="105130" y="16291"/>
                  <a:pt x="99575" y="12592"/>
                </a:cubicBezTo>
                <a:lnTo>
                  <a:pt x="77369" y="1489"/>
                </a:lnTo>
                <a:cubicBezTo>
                  <a:pt x="69966" y="-2211"/>
                  <a:pt x="62561" y="1489"/>
                  <a:pt x="58861" y="7043"/>
                </a:cubicBezTo>
                <a:lnTo>
                  <a:pt x="1489" y="119939"/>
                </a:lnTo>
                <a:cubicBezTo>
                  <a:pt x="-2210" y="127344"/>
                  <a:pt x="1489" y="134748"/>
                  <a:pt x="7044" y="138447"/>
                </a:cubicBezTo>
                <a:lnTo>
                  <a:pt x="29250" y="149551"/>
                </a:lnTo>
                <a:cubicBezTo>
                  <a:pt x="36655" y="151401"/>
                  <a:pt x="45909" y="149551"/>
                  <a:pt x="47758" y="142147"/>
                </a:cubicBezTo>
                <a:close/>
              </a:path>
            </a:pathLst>
          </a:custGeom>
          <a:solidFill>
            <a:schemeClr val="accent2"/>
          </a:solidFill>
          <a:ln w="213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grpSp>
        <p:nvGrpSpPr>
          <p:cNvPr id="4" name="Group 18">
            <a:extLst>
              <a:ext uri="{FF2B5EF4-FFF2-40B4-BE49-F238E27FC236}">
                <a16:creationId xmlns:a16="http://schemas.microsoft.com/office/drawing/2014/main" id="{7E4E9D2C-586A-EF2B-CE15-DFA8E02DBEC1}"/>
              </a:ext>
            </a:extLst>
          </p:cNvPr>
          <p:cNvGrpSpPr/>
          <p:nvPr/>
        </p:nvGrpSpPr>
        <p:grpSpPr>
          <a:xfrm>
            <a:off x="2793890" y="559081"/>
            <a:ext cx="736222" cy="1315949"/>
            <a:chOff x="2695220" y="180458"/>
            <a:chExt cx="736222" cy="131594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" name="Freeform: Shape 2186">
              <a:extLst>
                <a:ext uri="{FF2B5EF4-FFF2-40B4-BE49-F238E27FC236}">
                  <a16:creationId xmlns:a16="http://schemas.microsoft.com/office/drawing/2014/main" id="{43E0CAEA-D9BE-9565-B92A-83FAF7A5E5E6}"/>
                </a:ext>
              </a:extLst>
            </p:cNvPr>
            <p:cNvSpPr/>
            <p:nvPr/>
          </p:nvSpPr>
          <p:spPr>
            <a:xfrm>
              <a:off x="2785741" y="402657"/>
              <a:ext cx="645701" cy="1093750"/>
            </a:xfrm>
            <a:custGeom>
              <a:avLst/>
              <a:gdLst>
                <a:gd name="connsiteX0" fmla="*/ 612087 w 645701"/>
                <a:gd name="connsiteY0" fmla="*/ 7346 h 1093750"/>
                <a:gd name="connsiteX1" fmla="*/ 526953 w 645701"/>
                <a:gd name="connsiteY1" fmla="*/ 33258 h 1093750"/>
                <a:gd name="connsiteX2" fmla="*/ 456620 w 645701"/>
                <a:gd name="connsiteY2" fmla="*/ 166511 h 1093750"/>
                <a:gd name="connsiteX3" fmla="*/ 295603 w 645701"/>
                <a:gd name="connsiteY3" fmla="*/ 105438 h 1093750"/>
                <a:gd name="connsiteX4" fmla="*/ 264143 w 645701"/>
                <a:gd name="connsiteY4" fmla="*/ 99883 h 1093750"/>
                <a:gd name="connsiteX5" fmla="*/ 171604 w 645701"/>
                <a:gd name="connsiteY5" fmla="*/ 96185 h 1093750"/>
                <a:gd name="connsiteX6" fmla="*/ 73510 w 645701"/>
                <a:gd name="connsiteY6" fmla="*/ 166517 h 1093750"/>
                <a:gd name="connsiteX7" fmla="*/ 3177 w 645701"/>
                <a:gd name="connsiteY7" fmla="*/ 473746 h 1093750"/>
                <a:gd name="connsiteX8" fmla="*/ 34637 w 645701"/>
                <a:gd name="connsiteY8" fmla="*/ 582943 h 1093750"/>
                <a:gd name="connsiteX9" fmla="*/ 236372 w 645701"/>
                <a:gd name="connsiteY9" fmla="*/ 784678 h 1093750"/>
                <a:gd name="connsiteX10" fmla="*/ 240070 w 645701"/>
                <a:gd name="connsiteY10" fmla="*/ 790233 h 1093750"/>
                <a:gd name="connsiteX11" fmla="*/ 327053 w 645701"/>
                <a:gd name="connsiteY11" fmla="*/ 1045646 h 1093750"/>
                <a:gd name="connsiteX12" fmla="*/ 395529 w 645701"/>
                <a:gd name="connsiteY12" fmla="*/ 1093751 h 1093750"/>
                <a:gd name="connsiteX13" fmla="*/ 419592 w 645701"/>
                <a:gd name="connsiteY13" fmla="*/ 1090065 h 1093750"/>
                <a:gd name="connsiteX14" fmla="*/ 464012 w 645701"/>
                <a:gd name="connsiteY14" fmla="*/ 997526 h 1093750"/>
                <a:gd name="connsiteX15" fmla="*/ 377034 w 645701"/>
                <a:gd name="connsiteY15" fmla="*/ 745799 h 1093750"/>
                <a:gd name="connsiteX16" fmla="*/ 338169 w 645701"/>
                <a:gd name="connsiteY16" fmla="*/ 684720 h 1093750"/>
                <a:gd name="connsiteX17" fmla="*/ 225273 w 645701"/>
                <a:gd name="connsiteY17" fmla="*/ 571825 h 1093750"/>
                <a:gd name="connsiteX18" fmla="*/ 327066 w 645701"/>
                <a:gd name="connsiteY18" fmla="*/ 253491 h 1093750"/>
                <a:gd name="connsiteX19" fmla="*/ 439961 w 645701"/>
                <a:gd name="connsiteY19" fmla="*/ 296062 h 1093750"/>
                <a:gd name="connsiteX20" fmla="*/ 554706 w 645701"/>
                <a:gd name="connsiteY20" fmla="*/ 251642 h 1093750"/>
                <a:gd name="connsiteX21" fmla="*/ 637991 w 645701"/>
                <a:gd name="connsiteY21" fmla="*/ 92475 h 1093750"/>
                <a:gd name="connsiteX22" fmla="*/ 612079 w 645701"/>
                <a:gd name="connsiteY22" fmla="*/ 7335 h 1093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45701" h="1093750">
                  <a:moveTo>
                    <a:pt x="612087" y="7346"/>
                  </a:moveTo>
                  <a:cubicBezTo>
                    <a:pt x="580627" y="-9313"/>
                    <a:pt x="543611" y="3647"/>
                    <a:pt x="526953" y="33258"/>
                  </a:cubicBezTo>
                  <a:lnTo>
                    <a:pt x="456620" y="166511"/>
                  </a:lnTo>
                  <a:lnTo>
                    <a:pt x="295603" y="105438"/>
                  </a:lnTo>
                  <a:cubicBezTo>
                    <a:pt x="286349" y="101740"/>
                    <a:pt x="275246" y="99883"/>
                    <a:pt x="264143" y="99883"/>
                  </a:cubicBezTo>
                  <a:lnTo>
                    <a:pt x="171604" y="96185"/>
                  </a:lnTo>
                  <a:cubicBezTo>
                    <a:pt x="141993" y="94335"/>
                    <a:pt x="84620" y="109137"/>
                    <a:pt x="73510" y="166517"/>
                  </a:cubicBezTo>
                  <a:cubicBezTo>
                    <a:pt x="64256" y="212787"/>
                    <a:pt x="3177" y="473746"/>
                    <a:pt x="3177" y="473746"/>
                  </a:cubicBezTo>
                  <a:cubicBezTo>
                    <a:pt x="-6077" y="512611"/>
                    <a:pt x="5026" y="553332"/>
                    <a:pt x="34637" y="582943"/>
                  </a:cubicBezTo>
                  <a:lnTo>
                    <a:pt x="236372" y="784678"/>
                  </a:lnTo>
                  <a:cubicBezTo>
                    <a:pt x="238221" y="786527"/>
                    <a:pt x="240070" y="788376"/>
                    <a:pt x="240070" y="790233"/>
                  </a:cubicBezTo>
                  <a:lnTo>
                    <a:pt x="327053" y="1045646"/>
                  </a:lnTo>
                  <a:cubicBezTo>
                    <a:pt x="338158" y="1075243"/>
                    <a:pt x="365918" y="1093751"/>
                    <a:pt x="395529" y="1093751"/>
                  </a:cubicBezTo>
                  <a:cubicBezTo>
                    <a:pt x="402934" y="1093751"/>
                    <a:pt x="412188" y="1091915"/>
                    <a:pt x="419592" y="1090065"/>
                  </a:cubicBezTo>
                  <a:cubicBezTo>
                    <a:pt x="456608" y="1077109"/>
                    <a:pt x="476965" y="1036392"/>
                    <a:pt x="464012" y="997526"/>
                  </a:cubicBezTo>
                  <a:lnTo>
                    <a:pt x="377034" y="745799"/>
                  </a:lnTo>
                  <a:cubicBezTo>
                    <a:pt x="369631" y="723593"/>
                    <a:pt x="354827" y="701379"/>
                    <a:pt x="338169" y="684720"/>
                  </a:cubicBezTo>
                  <a:lnTo>
                    <a:pt x="225273" y="571825"/>
                  </a:lnTo>
                  <a:lnTo>
                    <a:pt x="327066" y="253491"/>
                  </a:lnTo>
                  <a:lnTo>
                    <a:pt x="439961" y="296062"/>
                  </a:lnTo>
                  <a:cubicBezTo>
                    <a:pt x="484382" y="312721"/>
                    <a:pt x="534350" y="294213"/>
                    <a:pt x="554706" y="251642"/>
                  </a:cubicBezTo>
                  <a:lnTo>
                    <a:pt x="637991" y="92475"/>
                  </a:lnTo>
                  <a:cubicBezTo>
                    <a:pt x="654650" y="61009"/>
                    <a:pt x="643547" y="23994"/>
                    <a:pt x="612079" y="7335"/>
                  </a:cubicBez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8" name="Freeform: Shape 2188">
              <a:extLst>
                <a:ext uri="{FF2B5EF4-FFF2-40B4-BE49-F238E27FC236}">
                  <a16:creationId xmlns:a16="http://schemas.microsoft.com/office/drawing/2014/main" id="{C624286E-27EF-2282-F4CA-AAA0246DE39D}"/>
                </a:ext>
              </a:extLst>
            </p:cNvPr>
            <p:cNvSpPr/>
            <p:nvPr/>
          </p:nvSpPr>
          <p:spPr>
            <a:xfrm>
              <a:off x="2880266" y="180458"/>
              <a:ext cx="281345" cy="281338"/>
            </a:xfrm>
            <a:custGeom>
              <a:avLst/>
              <a:gdLst>
                <a:gd name="connsiteX0" fmla="*/ 155921 w 281345"/>
                <a:gd name="connsiteY0" fmla="*/ 835 h 281338"/>
                <a:gd name="connsiteX1" fmla="*/ 280504 w 281345"/>
                <a:gd name="connsiteY1" fmla="*/ 155915 h 281338"/>
                <a:gd name="connsiteX2" fmla="*/ 125425 w 281345"/>
                <a:gd name="connsiteY2" fmla="*/ 280498 h 281338"/>
                <a:gd name="connsiteX3" fmla="*/ 841 w 281345"/>
                <a:gd name="connsiteY3" fmla="*/ 125418 h 281338"/>
                <a:gd name="connsiteX4" fmla="*/ 155921 w 281345"/>
                <a:gd name="connsiteY4" fmla="*/ 841 h 2813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81345" h="281338">
                  <a:moveTo>
                    <a:pt x="155921" y="835"/>
                  </a:moveTo>
                  <a:cubicBezTo>
                    <a:pt x="233151" y="9251"/>
                    <a:pt x="288927" y="78686"/>
                    <a:pt x="280504" y="155915"/>
                  </a:cubicBezTo>
                  <a:cubicBezTo>
                    <a:pt x="272082" y="233138"/>
                    <a:pt x="202653" y="288914"/>
                    <a:pt x="125425" y="280498"/>
                  </a:cubicBezTo>
                  <a:cubicBezTo>
                    <a:pt x="48195" y="272075"/>
                    <a:pt x="-7581" y="202647"/>
                    <a:pt x="841" y="125418"/>
                  </a:cubicBezTo>
                  <a:cubicBezTo>
                    <a:pt x="9264" y="48195"/>
                    <a:pt x="78693" y="-7581"/>
                    <a:pt x="155921" y="841"/>
                  </a:cubicBezTo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9" name="Freeform: Shape 2189">
              <a:extLst>
                <a:ext uri="{FF2B5EF4-FFF2-40B4-BE49-F238E27FC236}">
                  <a16:creationId xmlns:a16="http://schemas.microsoft.com/office/drawing/2014/main" id="{82095CEF-CB11-B265-F8EA-BCDD125A8C57}"/>
                </a:ext>
              </a:extLst>
            </p:cNvPr>
            <p:cNvSpPr/>
            <p:nvPr/>
          </p:nvSpPr>
          <p:spPr>
            <a:xfrm>
              <a:off x="2695220" y="1072580"/>
              <a:ext cx="236212" cy="423827"/>
            </a:xfrm>
            <a:custGeom>
              <a:avLst/>
              <a:gdLst>
                <a:gd name="connsiteX0" fmla="*/ 4865 w 236212"/>
                <a:gd name="connsiteY0" fmla="*/ 327587 h 423827"/>
                <a:gd name="connsiteX1" fmla="*/ 47436 w 236212"/>
                <a:gd name="connsiteY1" fmla="*/ 420126 h 423827"/>
                <a:gd name="connsiteX2" fmla="*/ 71499 w 236212"/>
                <a:gd name="connsiteY2" fmla="*/ 423828 h 423827"/>
                <a:gd name="connsiteX3" fmla="*/ 139975 w 236212"/>
                <a:gd name="connsiteY3" fmla="*/ 375707 h 423827"/>
                <a:gd name="connsiteX4" fmla="*/ 236212 w 236212"/>
                <a:gd name="connsiteY4" fmla="*/ 112896 h 423827"/>
                <a:gd name="connsiteX5" fmla="*/ 123317 w 236212"/>
                <a:gd name="connsiteY5" fmla="*/ 0 h 4238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6212" h="423827">
                  <a:moveTo>
                    <a:pt x="4865" y="327587"/>
                  </a:moveTo>
                  <a:cubicBezTo>
                    <a:pt x="-9944" y="364603"/>
                    <a:pt x="10421" y="407171"/>
                    <a:pt x="47436" y="420126"/>
                  </a:cubicBezTo>
                  <a:cubicBezTo>
                    <a:pt x="54841" y="423828"/>
                    <a:pt x="64095" y="423828"/>
                    <a:pt x="71499" y="423828"/>
                  </a:cubicBezTo>
                  <a:cubicBezTo>
                    <a:pt x="101110" y="423828"/>
                    <a:pt x="128872" y="405320"/>
                    <a:pt x="139975" y="375707"/>
                  </a:cubicBezTo>
                  <a:lnTo>
                    <a:pt x="236212" y="112896"/>
                  </a:lnTo>
                  <a:lnTo>
                    <a:pt x="123317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</p:grpSp>
      <p:sp>
        <p:nvSpPr>
          <p:cNvPr id="10" name="Freeform: Shape 2190">
            <a:extLst>
              <a:ext uri="{FF2B5EF4-FFF2-40B4-BE49-F238E27FC236}">
                <a16:creationId xmlns:a16="http://schemas.microsoft.com/office/drawing/2014/main" id="{72A1B02B-09F9-E667-F7C3-099C014D19A5}"/>
              </a:ext>
            </a:extLst>
          </p:cNvPr>
          <p:cNvSpPr/>
          <p:nvPr/>
        </p:nvSpPr>
        <p:spPr>
          <a:xfrm>
            <a:off x="3273136" y="436361"/>
            <a:ext cx="262276" cy="249292"/>
          </a:xfrm>
          <a:custGeom>
            <a:avLst/>
            <a:gdLst>
              <a:gd name="connsiteX0" fmla="*/ 266512 w 529339"/>
              <a:gd name="connsiteY0" fmla="*/ 0 h 503134"/>
              <a:gd name="connsiteX1" fmla="*/ 0 w 529339"/>
              <a:gd name="connsiteY1" fmla="*/ 223944 h 503134"/>
              <a:gd name="connsiteX2" fmla="*/ 81436 w 529339"/>
              <a:gd name="connsiteY2" fmla="*/ 384961 h 503134"/>
              <a:gd name="connsiteX3" fmla="*/ 44420 w 529339"/>
              <a:gd name="connsiteY3" fmla="*/ 473801 h 503134"/>
              <a:gd name="connsiteX4" fmla="*/ 66626 w 529339"/>
              <a:gd name="connsiteY4" fmla="*/ 501563 h 503134"/>
              <a:gd name="connsiteX5" fmla="*/ 199879 w 529339"/>
              <a:gd name="connsiteY5" fmla="*/ 438635 h 503134"/>
              <a:gd name="connsiteX6" fmla="*/ 262807 w 529339"/>
              <a:gd name="connsiteY6" fmla="*/ 446040 h 503134"/>
              <a:gd name="connsiteX7" fmla="*/ 529319 w 529339"/>
              <a:gd name="connsiteY7" fmla="*/ 222096 h 503134"/>
              <a:gd name="connsiteX8" fmla="*/ 266508 w 529339"/>
              <a:gd name="connsiteY8" fmla="*/ 3 h 503134"/>
              <a:gd name="connsiteX9" fmla="*/ 122148 w 529339"/>
              <a:gd name="connsiteY9" fmla="*/ 268362 h 503134"/>
              <a:gd name="connsiteX10" fmla="*/ 77728 w 529339"/>
              <a:gd name="connsiteY10" fmla="*/ 223942 h 503134"/>
              <a:gd name="connsiteX11" fmla="*/ 122148 w 529339"/>
              <a:gd name="connsiteY11" fmla="*/ 179522 h 503134"/>
              <a:gd name="connsiteX12" fmla="*/ 166568 w 529339"/>
              <a:gd name="connsiteY12" fmla="*/ 223942 h 503134"/>
              <a:gd name="connsiteX13" fmla="*/ 122148 w 529339"/>
              <a:gd name="connsiteY13" fmla="*/ 268362 h 503134"/>
              <a:gd name="connsiteX14" fmla="*/ 266512 w 529339"/>
              <a:gd name="connsiteY14" fmla="*/ 268362 h 503134"/>
              <a:gd name="connsiteX15" fmla="*/ 222092 w 529339"/>
              <a:gd name="connsiteY15" fmla="*/ 223942 h 503134"/>
              <a:gd name="connsiteX16" fmla="*/ 266512 w 529339"/>
              <a:gd name="connsiteY16" fmla="*/ 179522 h 503134"/>
              <a:gd name="connsiteX17" fmla="*/ 310932 w 529339"/>
              <a:gd name="connsiteY17" fmla="*/ 223942 h 503134"/>
              <a:gd name="connsiteX18" fmla="*/ 266512 w 529339"/>
              <a:gd name="connsiteY18" fmla="*/ 268362 h 503134"/>
              <a:gd name="connsiteX19" fmla="*/ 409018 w 529339"/>
              <a:gd name="connsiteY19" fmla="*/ 268362 h 503134"/>
              <a:gd name="connsiteX20" fmla="*/ 364598 w 529339"/>
              <a:gd name="connsiteY20" fmla="*/ 223942 h 503134"/>
              <a:gd name="connsiteX21" fmla="*/ 409018 w 529339"/>
              <a:gd name="connsiteY21" fmla="*/ 179522 h 503134"/>
              <a:gd name="connsiteX22" fmla="*/ 453438 w 529339"/>
              <a:gd name="connsiteY22" fmla="*/ 223942 h 503134"/>
              <a:gd name="connsiteX23" fmla="*/ 409018 w 529339"/>
              <a:gd name="connsiteY23" fmla="*/ 268362 h 503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29339" h="503134">
                <a:moveTo>
                  <a:pt x="266512" y="0"/>
                </a:moveTo>
                <a:cubicBezTo>
                  <a:pt x="120299" y="0"/>
                  <a:pt x="0" y="99943"/>
                  <a:pt x="0" y="223944"/>
                </a:cubicBezTo>
                <a:cubicBezTo>
                  <a:pt x="0" y="286872"/>
                  <a:pt x="31460" y="344244"/>
                  <a:pt x="81436" y="384961"/>
                </a:cubicBezTo>
                <a:cubicBezTo>
                  <a:pt x="77737" y="412723"/>
                  <a:pt x="61079" y="447889"/>
                  <a:pt x="44420" y="473801"/>
                </a:cubicBezTo>
                <a:cubicBezTo>
                  <a:pt x="35166" y="488611"/>
                  <a:pt x="49976" y="508968"/>
                  <a:pt x="66626" y="501563"/>
                </a:cubicBezTo>
                <a:cubicBezTo>
                  <a:pt x="111047" y="486754"/>
                  <a:pt x="172117" y="462698"/>
                  <a:pt x="199879" y="438635"/>
                </a:cubicBezTo>
                <a:cubicBezTo>
                  <a:pt x="220236" y="442334"/>
                  <a:pt x="240593" y="446040"/>
                  <a:pt x="262807" y="446040"/>
                </a:cubicBezTo>
                <a:cubicBezTo>
                  <a:pt x="409020" y="446040"/>
                  <a:pt x="529319" y="346096"/>
                  <a:pt x="529319" y="222096"/>
                </a:cubicBezTo>
                <a:cubicBezTo>
                  <a:pt x="531168" y="99946"/>
                  <a:pt x="412723" y="3"/>
                  <a:pt x="266508" y="3"/>
                </a:cubicBezTo>
                <a:close/>
                <a:moveTo>
                  <a:pt x="122148" y="268362"/>
                </a:moveTo>
                <a:cubicBezTo>
                  <a:pt x="98085" y="268362"/>
                  <a:pt x="77728" y="248005"/>
                  <a:pt x="77728" y="223942"/>
                </a:cubicBezTo>
                <a:cubicBezTo>
                  <a:pt x="77728" y="199879"/>
                  <a:pt x="98085" y="179522"/>
                  <a:pt x="122148" y="179522"/>
                </a:cubicBezTo>
                <a:cubicBezTo>
                  <a:pt x="146211" y="179522"/>
                  <a:pt x="166568" y="199879"/>
                  <a:pt x="166568" y="223942"/>
                </a:cubicBezTo>
                <a:cubicBezTo>
                  <a:pt x="168417" y="248005"/>
                  <a:pt x="148061" y="268362"/>
                  <a:pt x="122148" y="268362"/>
                </a:cubicBezTo>
                <a:close/>
                <a:moveTo>
                  <a:pt x="266512" y="268362"/>
                </a:moveTo>
                <a:cubicBezTo>
                  <a:pt x="242448" y="268362"/>
                  <a:pt x="222092" y="248005"/>
                  <a:pt x="222092" y="223942"/>
                </a:cubicBezTo>
                <a:cubicBezTo>
                  <a:pt x="222092" y="199879"/>
                  <a:pt x="242448" y="179522"/>
                  <a:pt x="266512" y="179522"/>
                </a:cubicBezTo>
                <a:cubicBezTo>
                  <a:pt x="290575" y="179522"/>
                  <a:pt x="310932" y="199879"/>
                  <a:pt x="310932" y="223942"/>
                </a:cubicBezTo>
                <a:cubicBezTo>
                  <a:pt x="310932" y="248005"/>
                  <a:pt x="290569" y="268362"/>
                  <a:pt x="266512" y="268362"/>
                </a:cubicBezTo>
                <a:close/>
                <a:moveTo>
                  <a:pt x="409018" y="268362"/>
                </a:moveTo>
                <a:cubicBezTo>
                  <a:pt x="384955" y="268362"/>
                  <a:pt x="364598" y="248005"/>
                  <a:pt x="364598" y="223942"/>
                </a:cubicBezTo>
                <a:cubicBezTo>
                  <a:pt x="364598" y="199879"/>
                  <a:pt x="384955" y="179522"/>
                  <a:pt x="409018" y="179522"/>
                </a:cubicBezTo>
                <a:cubicBezTo>
                  <a:pt x="433081" y="179522"/>
                  <a:pt x="453438" y="199879"/>
                  <a:pt x="453438" y="223942"/>
                </a:cubicBezTo>
                <a:cubicBezTo>
                  <a:pt x="453438" y="248005"/>
                  <a:pt x="433081" y="268362"/>
                  <a:pt x="409018" y="268362"/>
                </a:cubicBezTo>
                <a:close/>
              </a:path>
            </a:pathLst>
          </a:custGeom>
          <a:solidFill>
            <a:schemeClr val="accent2"/>
          </a:solidFill>
          <a:ln w="21366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pen Sans Semibold" panose="020B0706030804020204" pitchFamily="34" charset="0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15" name="Titel 5">
            <a:extLst>
              <a:ext uri="{FF2B5EF4-FFF2-40B4-BE49-F238E27FC236}">
                <a16:creationId xmlns:a16="http://schemas.microsoft.com/office/drawing/2014/main" id="{66A6319E-A0A6-3047-FFFD-AD08D4C3FADE}"/>
              </a:ext>
            </a:extLst>
          </p:cNvPr>
          <p:cNvSpPr txBox="1">
            <a:spLocks/>
          </p:cNvSpPr>
          <p:nvPr/>
        </p:nvSpPr>
        <p:spPr>
          <a:xfrm>
            <a:off x="-14716" y="-6827"/>
            <a:ext cx="12224697" cy="407276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2000" b="1" dirty="0">
                <a:solidFill>
                  <a:schemeClr val="bg1"/>
                </a:solidFill>
              </a:rPr>
              <a:t>De weg naar herstel</a:t>
            </a:r>
          </a:p>
        </p:txBody>
      </p:sp>
      <p:sp>
        <p:nvSpPr>
          <p:cNvPr id="2" name="TextBox 2223">
            <a:extLst>
              <a:ext uri="{FF2B5EF4-FFF2-40B4-BE49-F238E27FC236}">
                <a16:creationId xmlns:a16="http://schemas.microsoft.com/office/drawing/2014/main" id="{5BB612B2-6E02-1F61-702D-3CA4B66DD4CA}"/>
              </a:ext>
            </a:extLst>
          </p:cNvPr>
          <p:cNvSpPr txBox="1"/>
          <p:nvPr/>
        </p:nvSpPr>
        <p:spPr>
          <a:xfrm>
            <a:off x="8775534" y="4317929"/>
            <a:ext cx="110211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400" b="1" dirty="0">
                <a:solidFill>
                  <a:schemeClr val="accent2"/>
                </a:solidFill>
              </a:rPr>
              <a:t>Spoor 2</a:t>
            </a:r>
          </a:p>
          <a:p>
            <a:pPr algn="ctr"/>
            <a:r>
              <a:rPr lang="nl-NL" sz="1400" b="1" dirty="0">
                <a:solidFill>
                  <a:schemeClr val="accent2"/>
                </a:solidFill>
              </a:rPr>
              <a:t>na 1 jaar</a:t>
            </a:r>
            <a:endParaRPr lang="en-US" sz="1400" b="1" dirty="0">
              <a:solidFill>
                <a:schemeClr val="accent2"/>
              </a:solidFill>
            </a:endParaRPr>
          </a:p>
        </p:txBody>
      </p:sp>
      <p:sp>
        <p:nvSpPr>
          <p:cNvPr id="13" name="TextBox 2219">
            <a:extLst>
              <a:ext uri="{FF2B5EF4-FFF2-40B4-BE49-F238E27FC236}">
                <a16:creationId xmlns:a16="http://schemas.microsoft.com/office/drawing/2014/main" id="{B6F6A68B-4508-9B3C-67CD-56EC74F07718}"/>
              </a:ext>
            </a:extLst>
          </p:cNvPr>
          <p:cNvSpPr txBox="1"/>
          <p:nvPr/>
        </p:nvSpPr>
        <p:spPr>
          <a:xfrm>
            <a:off x="7513230" y="3887185"/>
            <a:ext cx="99022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050" dirty="0"/>
              <a:t>Mijn salaris wordt gekort</a:t>
            </a:r>
          </a:p>
        </p:txBody>
      </p:sp>
      <p:sp>
        <p:nvSpPr>
          <p:cNvPr id="14" name="Freeform 754">
            <a:extLst>
              <a:ext uri="{FF2B5EF4-FFF2-40B4-BE49-F238E27FC236}">
                <a16:creationId xmlns:a16="http://schemas.microsoft.com/office/drawing/2014/main" id="{163C29B8-978A-1439-EC24-21B373982ACF}"/>
              </a:ext>
            </a:extLst>
          </p:cNvPr>
          <p:cNvSpPr/>
          <p:nvPr/>
        </p:nvSpPr>
        <p:spPr>
          <a:xfrm rot="18139270" flipH="1">
            <a:off x="8273163" y="4084845"/>
            <a:ext cx="45719" cy="515983"/>
          </a:xfrm>
          <a:custGeom>
            <a:avLst/>
            <a:gdLst>
              <a:gd name="connsiteX0" fmla="*/ 820882 w 820882"/>
              <a:gd name="connsiteY0" fmla="*/ 0 h 363682"/>
              <a:gd name="connsiteX1" fmla="*/ 820882 w 820882"/>
              <a:gd name="connsiteY1" fmla="*/ 124691 h 363682"/>
              <a:gd name="connsiteX2" fmla="*/ 0 w 820882"/>
              <a:gd name="connsiteY2" fmla="*/ 363682 h 363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0882" h="363682">
                <a:moveTo>
                  <a:pt x="820882" y="0"/>
                </a:moveTo>
                <a:lnTo>
                  <a:pt x="820882" y="124691"/>
                </a:lnTo>
                <a:lnTo>
                  <a:pt x="0" y="363682"/>
                </a:lnTo>
              </a:path>
            </a:pathLst>
          </a:custGeom>
          <a:ln w="28575" cap="rnd">
            <a:solidFill>
              <a:schemeClr val="accent4"/>
            </a:solidFill>
            <a:prstDash val="sysDot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6" name="Tekstballon: rechthoek met afgeronde hoeken 45">
            <a:extLst>
              <a:ext uri="{FF2B5EF4-FFF2-40B4-BE49-F238E27FC236}">
                <a16:creationId xmlns:a16="http://schemas.microsoft.com/office/drawing/2014/main" id="{17DFC6C9-692C-2018-F879-158C2100D644}"/>
              </a:ext>
            </a:extLst>
          </p:cNvPr>
          <p:cNvSpPr/>
          <p:nvPr/>
        </p:nvSpPr>
        <p:spPr>
          <a:xfrm>
            <a:off x="111431" y="5155100"/>
            <a:ext cx="1663971" cy="874711"/>
          </a:xfrm>
          <a:prstGeom prst="wedgeRoundRectCallout">
            <a:avLst>
              <a:gd name="adj1" fmla="val -18865"/>
              <a:gd name="adj2" fmla="val -63860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Het ‘goede gesprek’ voeren – wat speelt er echt? Hoe kan jij/de organisatie helpen? Wat kan de medewerker zelf doen?</a:t>
            </a:r>
          </a:p>
          <a:p>
            <a:pPr algn="ctr"/>
            <a:r>
              <a:rPr lang="nl-NL" sz="900" dirty="0"/>
              <a:t>=&gt; Vraag HR om support of training indien nodig</a:t>
            </a:r>
          </a:p>
        </p:txBody>
      </p:sp>
      <p:sp>
        <p:nvSpPr>
          <p:cNvPr id="47" name="Tekstballon: rechthoek met afgeronde hoeken 46">
            <a:extLst>
              <a:ext uri="{FF2B5EF4-FFF2-40B4-BE49-F238E27FC236}">
                <a16:creationId xmlns:a16="http://schemas.microsoft.com/office/drawing/2014/main" id="{2B64B8DB-3F5F-8A6B-EF8D-7794DB6952C2}"/>
              </a:ext>
            </a:extLst>
          </p:cNvPr>
          <p:cNvSpPr/>
          <p:nvPr/>
        </p:nvSpPr>
        <p:spPr>
          <a:xfrm>
            <a:off x="1967760" y="2256313"/>
            <a:ext cx="1331939" cy="658530"/>
          </a:xfrm>
          <a:prstGeom prst="wedgeRoundRectCallout">
            <a:avLst>
              <a:gd name="adj1" fmla="val -37069"/>
              <a:gd name="adj2" fmla="val -81028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Proactief aanbieden van preventieve ondersteuning en bedrijfsartsbezoek</a:t>
            </a:r>
          </a:p>
        </p:txBody>
      </p:sp>
      <p:sp>
        <p:nvSpPr>
          <p:cNvPr id="48" name="Tekstballon: rechthoek met afgeronde hoeken 47">
            <a:extLst>
              <a:ext uri="{FF2B5EF4-FFF2-40B4-BE49-F238E27FC236}">
                <a16:creationId xmlns:a16="http://schemas.microsoft.com/office/drawing/2014/main" id="{7549233B-CB51-BEBA-A2C7-808766C2FD3C}"/>
              </a:ext>
            </a:extLst>
          </p:cNvPr>
          <p:cNvSpPr/>
          <p:nvPr/>
        </p:nvSpPr>
        <p:spPr>
          <a:xfrm>
            <a:off x="6622090" y="6539013"/>
            <a:ext cx="1957554" cy="288000"/>
          </a:xfrm>
          <a:prstGeom prst="wedgeRoundRectCallout">
            <a:avLst>
              <a:gd name="adj1" fmla="val -10693"/>
              <a:gd name="adj2" fmla="val -82240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Teamleden aanmoedigen contact te houden, ook bij langdurig verzuim</a:t>
            </a:r>
          </a:p>
        </p:txBody>
      </p:sp>
      <p:sp>
        <p:nvSpPr>
          <p:cNvPr id="49" name="Tekstballon: rechthoek met afgeronde hoeken 48">
            <a:extLst>
              <a:ext uri="{FF2B5EF4-FFF2-40B4-BE49-F238E27FC236}">
                <a16:creationId xmlns:a16="http://schemas.microsoft.com/office/drawing/2014/main" id="{8F59B9C9-2F1B-B4E3-FB08-53760A04E627}"/>
              </a:ext>
            </a:extLst>
          </p:cNvPr>
          <p:cNvSpPr/>
          <p:nvPr/>
        </p:nvSpPr>
        <p:spPr>
          <a:xfrm>
            <a:off x="4620806" y="3335002"/>
            <a:ext cx="1465569" cy="692823"/>
          </a:xfrm>
          <a:prstGeom prst="wedgeRoundRectCallout">
            <a:avLst>
              <a:gd name="adj1" fmla="val -40901"/>
              <a:gd name="adj2" fmla="val -75403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Ritme in contact houden en afspreken met medewerker wie contact opneemt</a:t>
            </a:r>
          </a:p>
        </p:txBody>
      </p:sp>
      <p:sp>
        <p:nvSpPr>
          <p:cNvPr id="50" name="Tekstballon: rechthoek met afgeronde hoeken 49">
            <a:extLst>
              <a:ext uri="{FF2B5EF4-FFF2-40B4-BE49-F238E27FC236}">
                <a16:creationId xmlns:a16="http://schemas.microsoft.com/office/drawing/2014/main" id="{08BED80F-05BA-BDD5-E7F4-F1D1DEF0F773}"/>
              </a:ext>
            </a:extLst>
          </p:cNvPr>
          <p:cNvSpPr/>
          <p:nvPr/>
        </p:nvSpPr>
        <p:spPr>
          <a:xfrm>
            <a:off x="4673183" y="793467"/>
            <a:ext cx="1639479" cy="892716"/>
          </a:xfrm>
          <a:prstGeom prst="wedgeRoundRectCallout">
            <a:avLst>
              <a:gd name="adj1" fmla="val -56349"/>
              <a:gd name="adj2" fmla="val 71147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Begrip tonen, checken wat medewerker wel kan en welke hulp medewerker nodig heeft, vervolgafspraak maken (bijv. wanneer weer contact)</a:t>
            </a:r>
          </a:p>
        </p:txBody>
      </p:sp>
      <p:sp>
        <p:nvSpPr>
          <p:cNvPr id="51" name="Tekstballon: rechthoek met afgeronde hoeken 50">
            <a:extLst>
              <a:ext uri="{FF2B5EF4-FFF2-40B4-BE49-F238E27FC236}">
                <a16:creationId xmlns:a16="http://schemas.microsoft.com/office/drawing/2014/main" id="{CDB73895-A47D-80E1-6309-68EFBB46852A}"/>
              </a:ext>
            </a:extLst>
          </p:cNvPr>
          <p:cNvSpPr/>
          <p:nvPr/>
        </p:nvSpPr>
        <p:spPr>
          <a:xfrm>
            <a:off x="1822876" y="6388085"/>
            <a:ext cx="2263730" cy="434196"/>
          </a:xfrm>
          <a:prstGeom prst="wedgeRoundRectCallout">
            <a:avLst>
              <a:gd name="adj1" fmla="val -16360"/>
              <a:gd name="adj2" fmla="val -68401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Geen ‘frequent verzuim’ maar een ‘zorggesprek’, hoe kan jij/de organisatie de medewerker helpen? Wat doet hij/zij zelf?</a:t>
            </a:r>
          </a:p>
        </p:txBody>
      </p:sp>
      <p:sp>
        <p:nvSpPr>
          <p:cNvPr id="52" name="Tekstballon: rechthoek met afgeronde hoeken 51">
            <a:extLst>
              <a:ext uri="{FF2B5EF4-FFF2-40B4-BE49-F238E27FC236}">
                <a16:creationId xmlns:a16="http://schemas.microsoft.com/office/drawing/2014/main" id="{CDAAE29B-08C6-4E0E-52F9-1386B4B48BE1}"/>
              </a:ext>
            </a:extLst>
          </p:cNvPr>
          <p:cNvSpPr/>
          <p:nvPr/>
        </p:nvSpPr>
        <p:spPr>
          <a:xfrm>
            <a:off x="4172589" y="6550833"/>
            <a:ext cx="1712960" cy="288000"/>
          </a:xfrm>
          <a:prstGeom prst="wedgeRoundRectCallout">
            <a:avLst>
              <a:gd name="adj1" fmla="val -27594"/>
              <a:gd name="adj2" fmla="val -63256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Vraag aan de bedrijfsarts afstemmen met de medewerker</a:t>
            </a:r>
          </a:p>
        </p:txBody>
      </p:sp>
      <p:sp>
        <p:nvSpPr>
          <p:cNvPr id="53" name="Tekstballon: rechthoek met afgeronde hoeken 52">
            <a:extLst>
              <a:ext uri="{FF2B5EF4-FFF2-40B4-BE49-F238E27FC236}">
                <a16:creationId xmlns:a16="http://schemas.microsoft.com/office/drawing/2014/main" id="{4F5DEA04-9CE2-CD7C-B0BB-EB896CCC656E}"/>
              </a:ext>
            </a:extLst>
          </p:cNvPr>
          <p:cNvSpPr/>
          <p:nvPr/>
        </p:nvSpPr>
        <p:spPr>
          <a:xfrm>
            <a:off x="7599029" y="4834734"/>
            <a:ext cx="1432608" cy="658530"/>
          </a:xfrm>
          <a:prstGeom prst="wedgeRoundRectCallout">
            <a:avLst>
              <a:gd name="adj1" fmla="val -29517"/>
              <a:gd name="adj2" fmla="val 73702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Niet vergeten! Een kaartje is al  genoeg, het gaat om oprechte aandacht en interesse</a:t>
            </a:r>
          </a:p>
        </p:txBody>
      </p:sp>
      <p:sp>
        <p:nvSpPr>
          <p:cNvPr id="54" name="Tekstballon: rechthoek met afgeronde hoeken 53">
            <a:extLst>
              <a:ext uri="{FF2B5EF4-FFF2-40B4-BE49-F238E27FC236}">
                <a16:creationId xmlns:a16="http://schemas.microsoft.com/office/drawing/2014/main" id="{642BB91C-4924-CDE3-FF9F-AAB360D92402}"/>
              </a:ext>
            </a:extLst>
          </p:cNvPr>
          <p:cNvSpPr/>
          <p:nvPr/>
        </p:nvSpPr>
        <p:spPr>
          <a:xfrm>
            <a:off x="9979722" y="5750634"/>
            <a:ext cx="783064" cy="321228"/>
          </a:xfrm>
          <a:prstGeom prst="wedgeRoundRectCallout">
            <a:avLst>
              <a:gd name="adj1" fmla="val -11239"/>
              <a:gd name="adj2" fmla="val -115604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Medewerker feliciteren</a:t>
            </a:r>
          </a:p>
        </p:txBody>
      </p:sp>
      <p:sp>
        <p:nvSpPr>
          <p:cNvPr id="55" name="Tekstballon: rechthoek met afgeronde hoeken 54">
            <a:extLst>
              <a:ext uri="{FF2B5EF4-FFF2-40B4-BE49-F238E27FC236}">
                <a16:creationId xmlns:a16="http://schemas.microsoft.com/office/drawing/2014/main" id="{AB237FF9-4A88-5CF4-9C9D-7DC166D13080}"/>
              </a:ext>
            </a:extLst>
          </p:cNvPr>
          <p:cNvSpPr/>
          <p:nvPr/>
        </p:nvSpPr>
        <p:spPr>
          <a:xfrm>
            <a:off x="10582278" y="6392256"/>
            <a:ext cx="1122622" cy="441800"/>
          </a:xfrm>
          <a:prstGeom prst="wedgeRoundRectCallout">
            <a:avLst>
              <a:gd name="adj1" fmla="val 42241"/>
              <a:gd name="adj2" fmla="val -116022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Aandacht besteden aan afscheid van het team</a:t>
            </a:r>
          </a:p>
        </p:txBody>
      </p:sp>
      <p:sp>
        <p:nvSpPr>
          <p:cNvPr id="56" name="Tekstballon: rechthoek met afgeronde hoeken 55">
            <a:extLst>
              <a:ext uri="{FF2B5EF4-FFF2-40B4-BE49-F238E27FC236}">
                <a16:creationId xmlns:a16="http://schemas.microsoft.com/office/drawing/2014/main" id="{91335A3F-02F2-456C-BD0A-5058E173B1D9}"/>
              </a:ext>
            </a:extLst>
          </p:cNvPr>
          <p:cNvSpPr/>
          <p:nvPr/>
        </p:nvSpPr>
        <p:spPr>
          <a:xfrm>
            <a:off x="9254750" y="6538834"/>
            <a:ext cx="1040459" cy="288000"/>
          </a:xfrm>
          <a:prstGeom prst="wedgeRoundRectCallout">
            <a:avLst>
              <a:gd name="adj1" fmla="val -38489"/>
              <a:gd name="adj2" fmla="val -88738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Interesse tonen in hoe het gaat</a:t>
            </a:r>
          </a:p>
        </p:txBody>
      </p:sp>
      <p:sp>
        <p:nvSpPr>
          <p:cNvPr id="57" name="Tekstballon: rechthoek met afgeronde hoeken 56">
            <a:extLst>
              <a:ext uri="{FF2B5EF4-FFF2-40B4-BE49-F238E27FC236}">
                <a16:creationId xmlns:a16="http://schemas.microsoft.com/office/drawing/2014/main" id="{8C04FED3-88B0-FC10-9789-9EDE270E7A84}"/>
              </a:ext>
            </a:extLst>
          </p:cNvPr>
          <p:cNvSpPr/>
          <p:nvPr/>
        </p:nvSpPr>
        <p:spPr>
          <a:xfrm>
            <a:off x="4611196" y="3335002"/>
            <a:ext cx="1465569" cy="692823"/>
          </a:xfrm>
          <a:prstGeom prst="wedgeRoundRectCallout">
            <a:avLst>
              <a:gd name="adj1" fmla="val 38722"/>
              <a:gd name="adj2" fmla="val 182772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Ritme in contact houden en afspreken met medewerker wie contact opneemt</a:t>
            </a:r>
          </a:p>
        </p:txBody>
      </p:sp>
      <p:sp>
        <p:nvSpPr>
          <p:cNvPr id="58" name="Tekstballon: rechthoek met afgeronde hoeken 57">
            <a:extLst>
              <a:ext uri="{FF2B5EF4-FFF2-40B4-BE49-F238E27FC236}">
                <a16:creationId xmlns:a16="http://schemas.microsoft.com/office/drawing/2014/main" id="{DA7D04F2-7B9A-6DC4-DA34-0FBB5CC755F1}"/>
              </a:ext>
            </a:extLst>
          </p:cNvPr>
          <p:cNvSpPr/>
          <p:nvPr/>
        </p:nvSpPr>
        <p:spPr>
          <a:xfrm>
            <a:off x="11078055" y="949029"/>
            <a:ext cx="1113945" cy="441800"/>
          </a:xfrm>
          <a:prstGeom prst="wedgeRoundRectCallout">
            <a:avLst>
              <a:gd name="adj1" fmla="val 9441"/>
              <a:gd name="adj2" fmla="val 144801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Aandacht besteden aan afscheid van het team</a:t>
            </a:r>
          </a:p>
        </p:txBody>
      </p:sp>
      <p:sp>
        <p:nvSpPr>
          <p:cNvPr id="59" name="Tekstballon: rechthoek met afgeronde hoeken 58">
            <a:extLst>
              <a:ext uri="{FF2B5EF4-FFF2-40B4-BE49-F238E27FC236}">
                <a16:creationId xmlns:a16="http://schemas.microsoft.com/office/drawing/2014/main" id="{E1BB3F43-653F-5B66-65A0-AF8F2BD9CA92}"/>
              </a:ext>
            </a:extLst>
          </p:cNvPr>
          <p:cNvSpPr/>
          <p:nvPr/>
        </p:nvSpPr>
        <p:spPr>
          <a:xfrm>
            <a:off x="8925210" y="424404"/>
            <a:ext cx="1383151" cy="503356"/>
          </a:xfrm>
          <a:prstGeom prst="wedgeRoundRectCallout">
            <a:avLst>
              <a:gd name="adj1" fmla="val -105368"/>
              <a:gd name="adj2" fmla="val -15241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Regelmatig inchecken hoe het gaat, ook als iemand 100% hersteld is</a:t>
            </a:r>
          </a:p>
        </p:txBody>
      </p:sp>
      <p:sp>
        <p:nvSpPr>
          <p:cNvPr id="60" name="Tekstballon: rechthoek met afgeronde hoeken 59">
            <a:extLst>
              <a:ext uri="{FF2B5EF4-FFF2-40B4-BE49-F238E27FC236}">
                <a16:creationId xmlns:a16="http://schemas.microsoft.com/office/drawing/2014/main" id="{1D163E19-FAF1-ACE3-3867-0B7CB8CA4978}"/>
              </a:ext>
            </a:extLst>
          </p:cNvPr>
          <p:cNvSpPr/>
          <p:nvPr/>
        </p:nvSpPr>
        <p:spPr>
          <a:xfrm>
            <a:off x="6403405" y="1413577"/>
            <a:ext cx="1928461" cy="707580"/>
          </a:xfrm>
          <a:prstGeom prst="wedgeRoundRectCallout">
            <a:avLst>
              <a:gd name="adj1" fmla="val -17831"/>
              <a:gd name="adj2" fmla="val -77184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Regelmatig inchecken hoe het gaat, waken voor over grenzen gaan, team meenemen in wat er van medewerker verwacht kan worden</a:t>
            </a:r>
          </a:p>
        </p:txBody>
      </p:sp>
      <p:sp>
        <p:nvSpPr>
          <p:cNvPr id="61" name="Titel 5">
            <a:extLst>
              <a:ext uri="{FF2B5EF4-FFF2-40B4-BE49-F238E27FC236}">
                <a16:creationId xmlns:a16="http://schemas.microsoft.com/office/drawing/2014/main" id="{48F80940-02A8-3E37-77D3-86D5A1F0220A}"/>
              </a:ext>
            </a:extLst>
          </p:cNvPr>
          <p:cNvSpPr txBox="1">
            <a:spLocks/>
          </p:cNvSpPr>
          <p:nvPr/>
        </p:nvSpPr>
        <p:spPr>
          <a:xfrm>
            <a:off x="-14716" y="409398"/>
            <a:ext cx="3009733" cy="31214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nl-NL" sz="1400" dirty="0">
                <a:solidFill>
                  <a:schemeClr val="accent2"/>
                </a:solidFill>
              </a:rPr>
              <a:t>Aandachtspunten voor leidinggevenden</a:t>
            </a:r>
            <a:endParaRPr lang="nl-NL" sz="2800" dirty="0">
              <a:solidFill>
                <a:schemeClr val="accent2"/>
              </a:solidFill>
            </a:endParaRPr>
          </a:p>
        </p:txBody>
      </p:sp>
      <p:sp>
        <p:nvSpPr>
          <p:cNvPr id="62" name="Tekstballon: rechthoek met afgeronde hoeken 61">
            <a:extLst>
              <a:ext uri="{FF2B5EF4-FFF2-40B4-BE49-F238E27FC236}">
                <a16:creationId xmlns:a16="http://schemas.microsoft.com/office/drawing/2014/main" id="{DD259FC9-B312-6A74-1D3F-EEE60198763C}"/>
              </a:ext>
            </a:extLst>
          </p:cNvPr>
          <p:cNvSpPr/>
          <p:nvPr/>
        </p:nvSpPr>
        <p:spPr>
          <a:xfrm>
            <a:off x="6361026" y="3583052"/>
            <a:ext cx="1307808" cy="434701"/>
          </a:xfrm>
          <a:prstGeom prst="wedgeRoundRectCallout">
            <a:avLst>
              <a:gd name="adj1" fmla="val 52678"/>
              <a:gd name="adj2" fmla="val 69706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/>
              <a:t>Ruim van te voren aangeven en uitleggen (samen met HR)</a:t>
            </a:r>
          </a:p>
        </p:txBody>
      </p:sp>
    </p:spTree>
    <p:extLst>
      <p:ext uri="{BB962C8B-B14F-4D97-AF65-F5344CB8AC3E}">
        <p14:creationId xmlns:p14="http://schemas.microsoft.com/office/powerpoint/2010/main" val="2636200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1A2FE8-99C2-C181-FF21-45760CE266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 descr="Afbeelding met tekst, whiteboard, handschrift, kaart&#10;&#10;Door AI gegenereerde inhoud is mogelijk onjuist.">
            <a:extLst>
              <a:ext uri="{FF2B5EF4-FFF2-40B4-BE49-F238E27FC236}">
                <a16:creationId xmlns:a16="http://schemas.microsoft.com/office/drawing/2014/main" id="{F451458F-7121-B281-F649-8F2BF6539DF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41880" y="2866343"/>
            <a:ext cx="3385136" cy="153330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5" name="Afbeelding 14" descr="Afbeelding met tekst, kleding, overdekt, tafel&#10;&#10;Door AI gegenereerde inhoud is mogelijk onjuist.">
            <a:extLst>
              <a:ext uri="{FF2B5EF4-FFF2-40B4-BE49-F238E27FC236}">
                <a16:creationId xmlns:a16="http://schemas.microsoft.com/office/drawing/2014/main" id="{DFE068BD-8DF0-71D4-9E15-0D363E634D3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548" t="-1" b="5995"/>
          <a:stretch/>
        </p:blipFill>
        <p:spPr>
          <a:xfrm>
            <a:off x="7207276" y="1274689"/>
            <a:ext cx="3731906" cy="152651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22F2CCD1-0C7F-3031-90F5-FB6A89577F9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11"/>
          <a:stretch/>
        </p:blipFill>
        <p:spPr>
          <a:xfrm>
            <a:off x="7207276" y="4454967"/>
            <a:ext cx="3731906" cy="152651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90C6DF4-7422-7497-8944-E57EB9962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Zo brengen wij de medewerker- en leidinggevende verzuim- en herstelbeleving in kaart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9FED1088-4A2B-14F1-D7D0-FA838CA59A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buSzPct val="25000"/>
            </a:pPr>
            <a:fld id="{00000000-1234-1234-1234-123412341234}" type="slidenum">
              <a:rPr lang="nl-NL" sz="900" smtClean="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rPr>
              <a:pPr algn="r">
                <a:buSzPct val="25000"/>
              </a:pPr>
              <a:t>4</a:t>
            </a:fld>
            <a:endParaRPr lang="nl-NL" sz="900">
              <a:solidFill>
                <a:srgbClr val="888888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4042D956-032A-BBA7-AF8E-8FBFA17D2F03}"/>
              </a:ext>
            </a:extLst>
          </p:cNvPr>
          <p:cNvSpPr/>
          <p:nvPr/>
        </p:nvSpPr>
        <p:spPr>
          <a:xfrm>
            <a:off x="1441879" y="6032271"/>
            <a:ext cx="9497303" cy="257339"/>
          </a:xfrm>
          <a:prstGeom prst="rect">
            <a:avLst/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bg1"/>
                </a:solidFill>
              </a:rPr>
              <a:t>Hulp nodig? Plan een gesprek </a:t>
            </a:r>
            <a:r>
              <a:rPr lang="nl-NL" sz="1400" dirty="0">
                <a:solidFill>
                  <a:schemeClr val="bg1"/>
                </a:solidFill>
                <a:sym typeface="Wingdings" panose="05000000000000000000" pitchFamily="2" charset="2"/>
              </a:rPr>
              <a:t></a:t>
            </a:r>
            <a:r>
              <a:rPr lang="nl-NL" sz="1400" dirty="0">
                <a:solidFill>
                  <a:schemeClr val="bg1"/>
                </a:solidFill>
              </a:rPr>
              <a:t> </a:t>
            </a:r>
            <a:r>
              <a:rPr lang="nl-NL" sz="1400" dirty="0">
                <a:solidFill>
                  <a:schemeClr val="bg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alendly.com/anoukpiening</a:t>
            </a:r>
            <a:r>
              <a:rPr lang="nl-NL" sz="1400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24" name="Groep 23">
            <a:extLst>
              <a:ext uri="{FF2B5EF4-FFF2-40B4-BE49-F238E27FC236}">
                <a16:creationId xmlns:a16="http://schemas.microsoft.com/office/drawing/2014/main" id="{D11CB0F2-2783-EE45-E24B-8529D2264DD1}"/>
              </a:ext>
            </a:extLst>
          </p:cNvPr>
          <p:cNvGrpSpPr/>
          <p:nvPr/>
        </p:nvGrpSpPr>
        <p:grpSpPr>
          <a:xfrm>
            <a:off x="2607481" y="4551815"/>
            <a:ext cx="3201076" cy="1285167"/>
            <a:chOff x="2892480" y="3392206"/>
            <a:chExt cx="5073911" cy="2120256"/>
          </a:xfrm>
        </p:grpSpPr>
        <p:pic>
          <p:nvPicPr>
            <p:cNvPr id="22" name="Afbeelding 21">
              <a:extLst>
                <a:ext uri="{FF2B5EF4-FFF2-40B4-BE49-F238E27FC236}">
                  <a16:creationId xmlns:a16="http://schemas.microsoft.com/office/drawing/2014/main" id="{F446B710-4022-940A-B9BB-3172075AF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92480" y="3392206"/>
              <a:ext cx="5073910" cy="1443092"/>
            </a:xfrm>
            <a:prstGeom prst="rect">
              <a:avLst/>
            </a:prstGeom>
          </p:spPr>
        </p:pic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CAA72505-F30B-80FC-DE8C-73E835471EA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92480" y="4825461"/>
              <a:ext cx="5073911" cy="687001"/>
            </a:xfrm>
            <a:prstGeom prst="rect">
              <a:avLst/>
            </a:prstGeom>
          </p:spPr>
        </p:pic>
      </p:grpSp>
      <p:pic>
        <p:nvPicPr>
          <p:cNvPr id="3" name="Afbeelding 2">
            <a:extLst>
              <a:ext uri="{FF2B5EF4-FFF2-40B4-BE49-F238E27FC236}">
                <a16:creationId xmlns:a16="http://schemas.microsoft.com/office/drawing/2014/main" id="{16EBA5F5-FBAD-F5B3-170D-00234AF33BE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1151" y="1463229"/>
            <a:ext cx="1149910" cy="1149910"/>
          </a:xfrm>
          <a:prstGeom prst="rect">
            <a:avLst/>
          </a:prstGeom>
        </p:spPr>
      </p:pic>
      <p:sp>
        <p:nvSpPr>
          <p:cNvPr id="5" name="Rechthoek 4">
            <a:extLst>
              <a:ext uri="{FF2B5EF4-FFF2-40B4-BE49-F238E27FC236}">
                <a16:creationId xmlns:a16="http://schemas.microsoft.com/office/drawing/2014/main" id="{4F09CDBB-7C37-E575-2612-CB0C4DBA1137}"/>
              </a:ext>
            </a:extLst>
          </p:cNvPr>
          <p:cNvSpPr/>
          <p:nvPr/>
        </p:nvSpPr>
        <p:spPr>
          <a:xfrm>
            <a:off x="1441879" y="1274689"/>
            <a:ext cx="9497303" cy="152651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D6E38AA2-F963-ACD0-DA22-3BAA0BFF9E6E}"/>
              </a:ext>
            </a:extLst>
          </p:cNvPr>
          <p:cNvSpPr/>
          <p:nvPr/>
        </p:nvSpPr>
        <p:spPr>
          <a:xfrm>
            <a:off x="1441879" y="2866343"/>
            <a:ext cx="9497303" cy="152651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46164F23-2B61-77D6-C94E-5D17C51B906E}"/>
              </a:ext>
            </a:extLst>
          </p:cNvPr>
          <p:cNvSpPr/>
          <p:nvPr/>
        </p:nvSpPr>
        <p:spPr>
          <a:xfrm>
            <a:off x="1441879" y="4455446"/>
            <a:ext cx="9497303" cy="1526510"/>
          </a:xfrm>
          <a:prstGeom prst="rect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Picture 2" descr="Text&#10;&#10;Description automatically generated">
            <a:extLst>
              <a:ext uri="{FF2B5EF4-FFF2-40B4-BE49-F238E27FC236}">
                <a16:creationId xmlns:a16="http://schemas.microsoft.com/office/drawing/2014/main" id="{665236DD-6786-3601-3AA3-B84ECD5B7A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68798" y="3254481"/>
            <a:ext cx="1922589" cy="73642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kstvak 16">
            <a:extLst>
              <a:ext uri="{FF2B5EF4-FFF2-40B4-BE49-F238E27FC236}">
                <a16:creationId xmlns:a16="http://schemas.microsoft.com/office/drawing/2014/main" id="{EC0554AD-D94F-FB6E-8068-26C1D9D73D2D}"/>
              </a:ext>
            </a:extLst>
          </p:cNvPr>
          <p:cNvSpPr txBox="1"/>
          <p:nvPr/>
        </p:nvSpPr>
        <p:spPr>
          <a:xfrm>
            <a:off x="5808557" y="1693240"/>
            <a:ext cx="139871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000" dirty="0">
                <a:solidFill>
                  <a:schemeClr val="accent1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hier verder: </a:t>
            </a:r>
            <a:r>
              <a:rPr lang="nl-NL" sz="1400" dirty="0">
                <a:solidFill>
                  <a:srgbClr val="98733A"/>
                </a:solidFill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ou (kinderopvang)</a:t>
            </a:r>
            <a:endParaRPr lang="nl-NL" sz="1400" dirty="0"/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6F8ED77C-F6CA-77B3-68D7-D674AF97AF7D}"/>
              </a:ext>
            </a:extLst>
          </p:cNvPr>
          <p:cNvSpPr txBox="1"/>
          <p:nvPr/>
        </p:nvSpPr>
        <p:spPr>
          <a:xfrm>
            <a:off x="5008322" y="3530795"/>
            <a:ext cx="550568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br>
              <a:rPr lang="nl-NL" sz="1400" dirty="0">
                <a:solidFill>
                  <a:srgbClr val="98733A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nl-NL" sz="1000" dirty="0">
                <a:solidFill>
                  <a:schemeClr val="accent1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hier verder:</a:t>
            </a:r>
          </a:p>
          <a:p>
            <a:r>
              <a:rPr lang="nl-NL" sz="1400" dirty="0">
                <a:solidFill>
                  <a:srgbClr val="98733A"/>
                </a:solidFill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1. MB-ALL (veiligheid) </a:t>
            </a:r>
            <a:endParaRPr lang="nl-NL" sz="1400" dirty="0">
              <a:solidFill>
                <a:srgbClr val="98733A"/>
              </a:solidFill>
            </a:endParaRPr>
          </a:p>
          <a:p>
            <a:r>
              <a:rPr lang="nl-NL" sz="1400" dirty="0">
                <a:hlinkClick r:id="rId12"/>
              </a:rPr>
              <a:t>2. MB-ALL (veiligheid) verbeteringen</a:t>
            </a:r>
            <a:endParaRPr lang="nl-NL" sz="1400" dirty="0"/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6CA6BFBC-7C36-D23D-53DD-51DFCA7689A4}"/>
              </a:ext>
            </a:extLst>
          </p:cNvPr>
          <p:cNvSpPr txBox="1"/>
          <p:nvPr/>
        </p:nvSpPr>
        <p:spPr>
          <a:xfrm>
            <a:off x="5743196" y="4845788"/>
            <a:ext cx="146408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000" u="sng" dirty="0">
                <a:solidFill>
                  <a:schemeClr val="accent1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ees hier verder:</a:t>
            </a:r>
          </a:p>
          <a:p>
            <a:pPr algn="ctr"/>
            <a:r>
              <a:rPr lang="nl-NL" sz="1400" dirty="0" err="1">
                <a:solidFill>
                  <a:srgbClr val="98733A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Groenhuysen</a:t>
            </a:r>
            <a:r>
              <a:rPr lang="nl-NL" sz="1400" dirty="0">
                <a:solidFill>
                  <a:srgbClr val="98733A"/>
                </a:solidFill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ouderenzorg)</a:t>
            </a:r>
            <a:endParaRPr lang="nl-NL" sz="1400" dirty="0"/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BD2B70DA-7697-8B0D-6E61-008850FC1BC9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61061" y="1348158"/>
            <a:ext cx="3137565" cy="1353239"/>
          </a:xfrm>
          <a:prstGeom prst="rect">
            <a:avLst/>
          </a:prstGeom>
        </p:spPr>
      </p:pic>
      <p:pic>
        <p:nvPicPr>
          <p:cNvPr id="21" name="Afbeelding 20">
            <a:extLst>
              <a:ext uri="{FF2B5EF4-FFF2-40B4-BE49-F238E27FC236}">
                <a16:creationId xmlns:a16="http://schemas.microsoft.com/office/drawing/2014/main" id="{48132EC7-6DAD-50D1-8C07-033C1FD7B69D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9465" y="2893451"/>
            <a:ext cx="3432373" cy="897435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F259E4DE-F39B-7671-DD0D-5FC62552B72F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 l="269"/>
          <a:stretch/>
        </p:blipFill>
        <p:spPr>
          <a:xfrm>
            <a:off x="1482987" y="4809697"/>
            <a:ext cx="1078074" cy="58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9310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: afgeronde hoeken 12">
            <a:extLst>
              <a:ext uri="{FF2B5EF4-FFF2-40B4-BE49-F238E27FC236}">
                <a16:creationId xmlns:a16="http://schemas.microsoft.com/office/drawing/2014/main" id="{FBF8260F-D02A-6F48-D480-7B3850957C55}"/>
              </a:ext>
            </a:extLst>
          </p:cNvPr>
          <p:cNvSpPr/>
          <p:nvPr/>
        </p:nvSpPr>
        <p:spPr>
          <a:xfrm>
            <a:off x="3996594" y="6168429"/>
            <a:ext cx="2680370" cy="58222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/>
          </a:p>
        </p:txBody>
      </p:sp>
      <p:sp>
        <p:nvSpPr>
          <p:cNvPr id="14" name="Rechthoek: afgeronde hoeken 13">
            <a:extLst>
              <a:ext uri="{FF2B5EF4-FFF2-40B4-BE49-F238E27FC236}">
                <a16:creationId xmlns:a16="http://schemas.microsoft.com/office/drawing/2014/main" id="{8551CD76-9015-5141-1307-87FB551525A7}"/>
              </a:ext>
            </a:extLst>
          </p:cNvPr>
          <p:cNvSpPr/>
          <p:nvPr/>
        </p:nvSpPr>
        <p:spPr>
          <a:xfrm>
            <a:off x="7152650" y="6168429"/>
            <a:ext cx="2680370" cy="582225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/>
          </a:p>
        </p:txBody>
      </p:sp>
      <p:sp>
        <p:nvSpPr>
          <p:cNvPr id="1078" name="Rectangle: Rounded Corners 1077">
            <a:extLst>
              <a:ext uri="{FF2B5EF4-FFF2-40B4-BE49-F238E27FC236}">
                <a16:creationId xmlns:a16="http://schemas.microsoft.com/office/drawing/2014/main" id="{A647117C-AFB5-34DC-67FF-7B69A26E9854}"/>
              </a:ext>
            </a:extLst>
          </p:cNvPr>
          <p:cNvSpPr/>
          <p:nvPr/>
        </p:nvSpPr>
        <p:spPr>
          <a:xfrm>
            <a:off x="228601" y="1393371"/>
            <a:ext cx="11762362" cy="4652270"/>
          </a:xfrm>
          <a:prstGeom prst="roundRect">
            <a:avLst>
              <a:gd name="adj" fmla="val 1206"/>
            </a:avLst>
          </a:prstGeom>
          <a:noFill/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69C550E-0AC6-845D-AFE9-5BD0D336024B}"/>
              </a:ext>
            </a:extLst>
          </p:cNvPr>
          <p:cNvSpPr txBox="1">
            <a:spLocks/>
          </p:cNvSpPr>
          <p:nvPr/>
        </p:nvSpPr>
        <p:spPr>
          <a:xfrm>
            <a:off x="457201" y="272311"/>
            <a:ext cx="11256134" cy="60776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accent5">
                    <a:lumMod val="75000"/>
                  </a:schemeClr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l-NL" dirty="0">
                <a:solidFill>
                  <a:schemeClr val="accent3"/>
                </a:solidFill>
              </a:rPr>
              <a:t>Wij helpen je graag om de beleving van jullie medewerkers en leidinggevende in kaart te brengen én te verbeteren</a:t>
            </a:r>
          </a:p>
        </p:txBody>
      </p:sp>
      <p:grpSp>
        <p:nvGrpSpPr>
          <p:cNvPr id="1073" name="Group 1072">
            <a:extLst>
              <a:ext uri="{FF2B5EF4-FFF2-40B4-BE49-F238E27FC236}">
                <a16:creationId xmlns:a16="http://schemas.microsoft.com/office/drawing/2014/main" id="{58E57FF5-EE49-F974-EF4C-62B94E888851}"/>
              </a:ext>
            </a:extLst>
          </p:cNvPr>
          <p:cNvGrpSpPr/>
          <p:nvPr/>
        </p:nvGrpSpPr>
        <p:grpSpPr>
          <a:xfrm>
            <a:off x="3294201" y="2473977"/>
            <a:ext cx="2720046" cy="607770"/>
            <a:chOff x="3171306" y="2473977"/>
            <a:chExt cx="2528695" cy="607770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B0A7E2C-C21F-838F-041C-14BAA38DEA0B}"/>
                </a:ext>
              </a:extLst>
            </p:cNvPr>
            <p:cNvSpPr/>
            <p:nvPr/>
          </p:nvSpPr>
          <p:spPr>
            <a:xfrm>
              <a:off x="3171306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800" dirty="0">
                <a:solidFill>
                  <a:schemeClr val="accent2"/>
                </a:solidFill>
              </a:endParaRPr>
            </a:p>
          </p:txBody>
        </p:sp>
        <p:sp>
          <p:nvSpPr>
            <p:cNvPr id="8" name="Content Placeholder 2">
              <a:extLst>
                <a:ext uri="{FF2B5EF4-FFF2-40B4-BE49-F238E27FC236}">
                  <a16:creationId xmlns:a16="http://schemas.microsoft.com/office/drawing/2014/main" id="{1CDC23D1-064E-D4D2-BC8C-AC9C38443A8E}"/>
                </a:ext>
              </a:extLst>
            </p:cNvPr>
            <p:cNvSpPr txBox="1">
              <a:spLocks/>
            </p:cNvSpPr>
            <p:nvPr/>
          </p:nvSpPr>
          <p:spPr>
            <a:xfrm>
              <a:off x="3252307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 dirty="0">
                  <a:solidFill>
                    <a:schemeClr val="accent2"/>
                  </a:solidFill>
                  <a:cs typeface="Arial" panose="020B0604020202020204" pitchFamily="34" charset="0"/>
                </a:rPr>
                <a:t>FOCUSGROEPEN</a:t>
              </a:r>
            </a:p>
          </p:txBody>
        </p:sp>
      </p:grpSp>
      <p:grpSp>
        <p:nvGrpSpPr>
          <p:cNvPr id="1062" name="Graphic 11">
            <a:extLst>
              <a:ext uri="{FF2B5EF4-FFF2-40B4-BE49-F238E27FC236}">
                <a16:creationId xmlns:a16="http://schemas.microsoft.com/office/drawing/2014/main" id="{01639D88-9CFD-F4AD-D39A-2EE80801F3B5}"/>
              </a:ext>
            </a:extLst>
          </p:cNvPr>
          <p:cNvGrpSpPr/>
          <p:nvPr/>
        </p:nvGrpSpPr>
        <p:grpSpPr>
          <a:xfrm>
            <a:off x="4295127" y="1724968"/>
            <a:ext cx="751779" cy="654878"/>
            <a:chOff x="4059729" y="1739315"/>
            <a:chExt cx="751779" cy="654878"/>
          </a:xfrm>
          <a:solidFill>
            <a:schemeClr val="accent2"/>
          </a:solidFill>
        </p:grpSpPr>
        <p:sp>
          <p:nvSpPr>
            <p:cNvPr id="1063" name="Freeform: Shape 1062">
              <a:extLst>
                <a:ext uri="{FF2B5EF4-FFF2-40B4-BE49-F238E27FC236}">
                  <a16:creationId xmlns:a16="http://schemas.microsoft.com/office/drawing/2014/main" id="{E1C7D598-D7D0-CED7-FDC8-A08B93869715}"/>
                </a:ext>
              </a:extLst>
            </p:cNvPr>
            <p:cNvSpPr/>
            <p:nvPr/>
          </p:nvSpPr>
          <p:spPr>
            <a:xfrm>
              <a:off x="4240087" y="1903310"/>
              <a:ext cx="391122" cy="208970"/>
            </a:xfrm>
            <a:custGeom>
              <a:avLst/>
              <a:gdLst>
                <a:gd name="connsiteX0" fmla="*/ 250349 w 391122"/>
                <a:gd name="connsiteY0" fmla="*/ 25 h 208970"/>
                <a:gd name="connsiteX1" fmla="*/ 231738 w 391122"/>
                <a:gd name="connsiteY1" fmla="*/ 10905 h 208970"/>
                <a:gd name="connsiteX2" fmla="*/ 201231 w 391122"/>
                <a:gd name="connsiteY2" fmla="*/ 56014 h 208970"/>
                <a:gd name="connsiteX3" fmla="*/ 157171 w 391122"/>
                <a:gd name="connsiteY3" fmla="*/ 21848 h 208970"/>
                <a:gd name="connsiteX4" fmla="*/ 126822 w 391122"/>
                <a:gd name="connsiteY4" fmla="*/ 7756 h 208970"/>
                <a:gd name="connsiteX5" fmla="*/ 34600 w 391122"/>
                <a:gd name="connsiteY5" fmla="*/ 7756 h 208970"/>
                <a:gd name="connsiteX6" fmla="*/ 11028 w 391122"/>
                <a:gd name="connsiteY6" fmla="*/ 17363 h 208970"/>
                <a:gd name="connsiteX7" fmla="*/ 6033 w 391122"/>
                <a:gd name="connsiteY7" fmla="*/ 22866 h 208970"/>
                <a:gd name="connsiteX8" fmla="*/ 16532 w 391122"/>
                <a:gd name="connsiteY8" fmla="*/ 37086 h 208970"/>
                <a:gd name="connsiteX9" fmla="*/ 25566 w 391122"/>
                <a:gd name="connsiteY9" fmla="*/ 30246 h 208970"/>
                <a:gd name="connsiteX10" fmla="*/ 34570 w 391122"/>
                <a:gd name="connsiteY10" fmla="*/ 28210 h 208970"/>
                <a:gd name="connsiteX11" fmla="*/ 126791 w 391122"/>
                <a:gd name="connsiteY11" fmla="*/ 28210 h 208970"/>
                <a:gd name="connsiteX12" fmla="*/ 144574 w 391122"/>
                <a:gd name="connsiteY12" fmla="*/ 38040 h 208970"/>
                <a:gd name="connsiteX13" fmla="*/ 197350 w 391122"/>
                <a:gd name="connsiteY13" fmla="*/ 78855 h 208970"/>
                <a:gd name="connsiteX14" fmla="*/ 212143 w 391122"/>
                <a:gd name="connsiteY14" fmla="*/ 76501 h 208970"/>
                <a:gd name="connsiteX15" fmla="*/ 247518 w 391122"/>
                <a:gd name="connsiteY15" fmla="*/ 23980 h 208970"/>
                <a:gd name="connsiteX16" fmla="*/ 255662 w 391122"/>
                <a:gd name="connsiteY16" fmla="*/ 21308 h 208970"/>
                <a:gd name="connsiteX17" fmla="*/ 294632 w 391122"/>
                <a:gd name="connsiteY17" fmla="*/ 31329 h 208970"/>
                <a:gd name="connsiteX18" fmla="*/ 294441 w 391122"/>
                <a:gd name="connsiteY18" fmla="*/ 42368 h 208970"/>
                <a:gd name="connsiteX19" fmla="*/ 263615 w 391122"/>
                <a:gd name="connsiteY19" fmla="*/ 43990 h 208970"/>
                <a:gd name="connsiteX20" fmla="*/ 255853 w 391122"/>
                <a:gd name="connsiteY20" fmla="*/ 48380 h 208970"/>
                <a:gd name="connsiteX21" fmla="*/ 212684 w 391122"/>
                <a:gd name="connsiteY21" fmla="*/ 110190 h 208970"/>
                <a:gd name="connsiteX22" fmla="*/ 207594 w 391122"/>
                <a:gd name="connsiteY22" fmla="*/ 113022 h 208970"/>
                <a:gd name="connsiteX23" fmla="*/ 199546 w 391122"/>
                <a:gd name="connsiteY23" fmla="*/ 109999 h 208970"/>
                <a:gd name="connsiteX24" fmla="*/ 163534 w 391122"/>
                <a:gd name="connsiteY24" fmla="*/ 84740 h 208970"/>
                <a:gd name="connsiteX25" fmla="*/ 147374 w 391122"/>
                <a:gd name="connsiteY25" fmla="*/ 93107 h 208970"/>
                <a:gd name="connsiteX26" fmla="*/ 146673 w 391122"/>
                <a:gd name="connsiteY26" fmla="*/ 188292 h 208970"/>
                <a:gd name="connsiteX27" fmla="*/ 10426 w 391122"/>
                <a:gd name="connsiteY27" fmla="*/ 188419 h 208970"/>
                <a:gd name="connsiteX28" fmla="*/ 10426 w 391122"/>
                <a:gd name="connsiteY28" fmla="*/ 208969 h 208970"/>
                <a:gd name="connsiteX29" fmla="*/ 380720 w 391122"/>
                <a:gd name="connsiteY29" fmla="*/ 208969 h 208970"/>
                <a:gd name="connsiteX30" fmla="*/ 380720 w 391122"/>
                <a:gd name="connsiteY30" fmla="*/ 188419 h 208970"/>
                <a:gd name="connsiteX31" fmla="*/ 167261 w 391122"/>
                <a:gd name="connsiteY31" fmla="*/ 188419 h 208970"/>
                <a:gd name="connsiteX32" fmla="*/ 167866 w 391122"/>
                <a:gd name="connsiteY32" fmla="*/ 112930 h 208970"/>
                <a:gd name="connsiteX33" fmla="*/ 187748 w 391122"/>
                <a:gd name="connsiteY33" fmla="*/ 126927 h 208970"/>
                <a:gd name="connsiteX34" fmla="*/ 209540 w 391122"/>
                <a:gd name="connsiteY34" fmla="*/ 133544 h 208970"/>
                <a:gd name="connsiteX35" fmla="*/ 227482 w 391122"/>
                <a:gd name="connsiteY35" fmla="*/ 124701 h 208970"/>
                <a:gd name="connsiteX36" fmla="*/ 269855 w 391122"/>
                <a:gd name="connsiteY36" fmla="*/ 64289 h 208970"/>
                <a:gd name="connsiteX37" fmla="*/ 293427 w 391122"/>
                <a:gd name="connsiteY37" fmla="*/ 62922 h 208970"/>
                <a:gd name="connsiteX38" fmla="*/ 320659 w 391122"/>
                <a:gd name="connsiteY38" fmla="*/ 38745 h 208970"/>
                <a:gd name="connsiteX39" fmla="*/ 299790 w 391122"/>
                <a:gd name="connsiteY39" fmla="*/ 11546 h 208970"/>
                <a:gd name="connsiteX40" fmla="*/ 258021 w 391122"/>
                <a:gd name="connsiteY40" fmla="*/ 857 h 208970"/>
                <a:gd name="connsiteX41" fmla="*/ 250354 w 391122"/>
                <a:gd name="connsiteY41" fmla="*/ 29 h 208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391122" h="208970">
                  <a:moveTo>
                    <a:pt x="250349" y="25"/>
                  </a:moveTo>
                  <a:cubicBezTo>
                    <a:pt x="242841" y="439"/>
                    <a:pt x="236129" y="4352"/>
                    <a:pt x="231738" y="10905"/>
                  </a:cubicBezTo>
                  <a:lnTo>
                    <a:pt x="201231" y="56014"/>
                  </a:lnTo>
                  <a:lnTo>
                    <a:pt x="157171" y="21848"/>
                  </a:lnTo>
                  <a:cubicBezTo>
                    <a:pt x="148963" y="15550"/>
                    <a:pt x="139738" y="7756"/>
                    <a:pt x="126822" y="7756"/>
                  </a:cubicBezTo>
                  <a:lnTo>
                    <a:pt x="34600" y="7756"/>
                  </a:lnTo>
                  <a:cubicBezTo>
                    <a:pt x="24898" y="7756"/>
                    <a:pt x="16309" y="11573"/>
                    <a:pt x="11028" y="17363"/>
                  </a:cubicBezTo>
                  <a:lnTo>
                    <a:pt x="6033" y="22866"/>
                  </a:lnTo>
                  <a:cubicBezTo>
                    <a:pt x="-3160" y="33046"/>
                    <a:pt x="4666" y="43990"/>
                    <a:pt x="16532" y="37086"/>
                  </a:cubicBezTo>
                  <a:cubicBezTo>
                    <a:pt x="19554" y="35336"/>
                    <a:pt x="22576" y="31997"/>
                    <a:pt x="25566" y="30246"/>
                  </a:cubicBezTo>
                  <a:cubicBezTo>
                    <a:pt x="29193" y="28115"/>
                    <a:pt x="31770" y="28210"/>
                    <a:pt x="34570" y="28210"/>
                  </a:cubicBezTo>
                  <a:lnTo>
                    <a:pt x="126791" y="28210"/>
                  </a:lnTo>
                  <a:cubicBezTo>
                    <a:pt x="128954" y="28210"/>
                    <a:pt x="137066" y="32251"/>
                    <a:pt x="144574" y="38040"/>
                  </a:cubicBezTo>
                  <a:lnTo>
                    <a:pt x="197350" y="78855"/>
                  </a:lnTo>
                  <a:cubicBezTo>
                    <a:pt x="202026" y="82482"/>
                    <a:pt x="208802" y="81400"/>
                    <a:pt x="212143" y="76501"/>
                  </a:cubicBezTo>
                  <a:lnTo>
                    <a:pt x="247518" y="23980"/>
                  </a:lnTo>
                  <a:cubicBezTo>
                    <a:pt x="249681" y="20734"/>
                    <a:pt x="252481" y="20480"/>
                    <a:pt x="255662" y="21308"/>
                  </a:cubicBezTo>
                  <a:lnTo>
                    <a:pt x="294632" y="31329"/>
                  </a:lnTo>
                  <a:cubicBezTo>
                    <a:pt x="303030" y="33492"/>
                    <a:pt x="301472" y="41986"/>
                    <a:pt x="294441" y="42368"/>
                  </a:cubicBezTo>
                  <a:lnTo>
                    <a:pt x="263615" y="43990"/>
                  </a:lnTo>
                  <a:cubicBezTo>
                    <a:pt x="260498" y="44181"/>
                    <a:pt x="257634" y="45803"/>
                    <a:pt x="255853" y="48380"/>
                  </a:cubicBezTo>
                  <a:lnTo>
                    <a:pt x="212684" y="110190"/>
                  </a:lnTo>
                  <a:cubicBezTo>
                    <a:pt x="210807" y="112004"/>
                    <a:pt x="209185" y="112831"/>
                    <a:pt x="207594" y="113022"/>
                  </a:cubicBezTo>
                  <a:cubicBezTo>
                    <a:pt x="205908" y="113117"/>
                    <a:pt x="203554" y="112767"/>
                    <a:pt x="199546" y="109999"/>
                  </a:cubicBezTo>
                  <a:lnTo>
                    <a:pt x="163534" y="84740"/>
                  </a:lnTo>
                  <a:cubicBezTo>
                    <a:pt x="156759" y="80001"/>
                    <a:pt x="147405" y="84772"/>
                    <a:pt x="147374" y="93107"/>
                  </a:cubicBezTo>
                  <a:lnTo>
                    <a:pt x="146673" y="188292"/>
                  </a:lnTo>
                  <a:lnTo>
                    <a:pt x="10426" y="188419"/>
                  </a:lnTo>
                  <a:cubicBezTo>
                    <a:pt x="-3475" y="188229"/>
                    <a:pt x="-3475" y="209161"/>
                    <a:pt x="10426" y="208969"/>
                  </a:cubicBezTo>
                  <a:lnTo>
                    <a:pt x="380720" y="208969"/>
                  </a:lnTo>
                  <a:cubicBezTo>
                    <a:pt x="394590" y="209161"/>
                    <a:pt x="394590" y="188228"/>
                    <a:pt x="380720" y="188419"/>
                  </a:cubicBezTo>
                  <a:lnTo>
                    <a:pt x="167261" y="188419"/>
                  </a:lnTo>
                  <a:lnTo>
                    <a:pt x="167866" y="112930"/>
                  </a:lnTo>
                  <a:lnTo>
                    <a:pt x="187748" y="126927"/>
                  </a:lnTo>
                  <a:cubicBezTo>
                    <a:pt x="194683" y="131763"/>
                    <a:pt x="202319" y="134244"/>
                    <a:pt x="209540" y="133544"/>
                  </a:cubicBezTo>
                  <a:cubicBezTo>
                    <a:pt x="216793" y="132908"/>
                    <a:pt x="223823" y="129949"/>
                    <a:pt x="227482" y="124701"/>
                  </a:cubicBezTo>
                  <a:lnTo>
                    <a:pt x="269855" y="64289"/>
                  </a:lnTo>
                  <a:lnTo>
                    <a:pt x="293427" y="62922"/>
                  </a:lnTo>
                  <a:cubicBezTo>
                    <a:pt x="308888" y="61968"/>
                    <a:pt x="320117" y="50770"/>
                    <a:pt x="320659" y="38745"/>
                  </a:cubicBezTo>
                  <a:cubicBezTo>
                    <a:pt x="321263" y="26719"/>
                    <a:pt x="312928" y="14949"/>
                    <a:pt x="299790" y="11546"/>
                  </a:cubicBezTo>
                  <a:lnTo>
                    <a:pt x="258021" y="857"/>
                  </a:lnTo>
                  <a:cubicBezTo>
                    <a:pt x="255444" y="188"/>
                    <a:pt x="252868" y="-98"/>
                    <a:pt x="250354" y="29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4" name="Freeform: Shape 1063">
              <a:extLst>
                <a:ext uri="{FF2B5EF4-FFF2-40B4-BE49-F238E27FC236}">
                  <a16:creationId xmlns:a16="http://schemas.microsoft.com/office/drawing/2014/main" id="{D081372F-ABC7-2BA0-BD4E-E07E3D85688D}"/>
                </a:ext>
              </a:extLst>
            </p:cNvPr>
            <p:cNvSpPr/>
            <p:nvPr/>
          </p:nvSpPr>
          <p:spPr>
            <a:xfrm>
              <a:off x="4335259" y="2127446"/>
              <a:ext cx="120241" cy="213617"/>
            </a:xfrm>
            <a:custGeom>
              <a:avLst/>
              <a:gdLst>
                <a:gd name="connsiteX0" fmla="*/ 77867 w 120241"/>
                <a:gd name="connsiteY0" fmla="*/ 1 h 213617"/>
                <a:gd name="connsiteX1" fmla="*/ 69819 w 120241"/>
                <a:gd name="connsiteY1" fmla="*/ 16225 h 213617"/>
                <a:gd name="connsiteX2" fmla="*/ 94187 w 120241"/>
                <a:gd name="connsiteY2" fmla="*/ 51250 h 213617"/>
                <a:gd name="connsiteX3" fmla="*/ 99659 w 120241"/>
                <a:gd name="connsiteY3" fmla="*/ 66425 h 213617"/>
                <a:gd name="connsiteX4" fmla="*/ 99659 w 120241"/>
                <a:gd name="connsiteY4" fmla="*/ 171847 h 213617"/>
                <a:gd name="connsiteX5" fmla="*/ 93010 w 120241"/>
                <a:gd name="connsiteY5" fmla="*/ 187626 h 213617"/>
                <a:gd name="connsiteX6" fmla="*/ 76849 w 120241"/>
                <a:gd name="connsiteY6" fmla="*/ 193034 h 213617"/>
                <a:gd name="connsiteX7" fmla="*/ 60720 w 120241"/>
                <a:gd name="connsiteY7" fmla="*/ 187626 h 213617"/>
                <a:gd name="connsiteX8" fmla="*/ 53976 w 120241"/>
                <a:gd name="connsiteY8" fmla="*/ 171847 h 213617"/>
                <a:gd name="connsiteX9" fmla="*/ 53976 w 120241"/>
                <a:gd name="connsiteY9" fmla="*/ 75171 h 213617"/>
                <a:gd name="connsiteX10" fmla="*/ 52576 w 120241"/>
                <a:gd name="connsiteY10" fmla="*/ 69923 h 213617"/>
                <a:gd name="connsiteX11" fmla="*/ 29481 w 120241"/>
                <a:gd name="connsiteY11" fmla="*/ 36806 h 213617"/>
                <a:gd name="connsiteX12" fmla="*/ 15580 w 120241"/>
                <a:gd name="connsiteY12" fmla="*/ 43168 h 213617"/>
                <a:gd name="connsiteX13" fmla="*/ 33490 w 120241"/>
                <a:gd name="connsiteY13" fmla="*/ 77907 h 213617"/>
                <a:gd name="connsiteX14" fmla="*/ 33490 w 120241"/>
                <a:gd name="connsiteY14" fmla="*/ 171594 h 213617"/>
                <a:gd name="connsiteX15" fmla="*/ 26681 w 120241"/>
                <a:gd name="connsiteY15" fmla="*/ 187563 h 213617"/>
                <a:gd name="connsiteX16" fmla="*/ 10426 w 120241"/>
                <a:gd name="connsiteY16" fmla="*/ 193035 h 213617"/>
                <a:gd name="connsiteX17" fmla="*/ 10426 w 120241"/>
                <a:gd name="connsiteY17" fmla="*/ 213617 h 213617"/>
                <a:gd name="connsiteX18" fmla="*/ 39915 w 120241"/>
                <a:gd name="connsiteY18" fmla="*/ 203247 h 213617"/>
                <a:gd name="connsiteX19" fmla="*/ 47423 w 120241"/>
                <a:gd name="connsiteY19" fmla="*/ 203247 h 213617"/>
                <a:gd name="connsiteX20" fmla="*/ 76849 w 120241"/>
                <a:gd name="connsiteY20" fmla="*/ 213617 h 213617"/>
                <a:gd name="connsiteX21" fmla="*/ 106212 w 120241"/>
                <a:gd name="connsiteY21" fmla="*/ 203247 h 213617"/>
                <a:gd name="connsiteX22" fmla="*/ 120241 w 120241"/>
                <a:gd name="connsiteY22" fmla="*/ 171816 h 213617"/>
                <a:gd name="connsiteX23" fmla="*/ 120241 w 120241"/>
                <a:gd name="connsiteY23" fmla="*/ 66394 h 213617"/>
                <a:gd name="connsiteX24" fmla="*/ 110761 w 120241"/>
                <a:gd name="connsiteY24" fmla="*/ 39162 h 213617"/>
                <a:gd name="connsiteX25" fmla="*/ 86616 w 120241"/>
                <a:gd name="connsiteY25" fmla="*/ 4583 h 213617"/>
                <a:gd name="connsiteX26" fmla="*/ 77868 w 120241"/>
                <a:gd name="connsiteY26" fmla="*/ 2 h 213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0241" h="213617">
                  <a:moveTo>
                    <a:pt x="77867" y="1"/>
                  </a:moveTo>
                  <a:cubicBezTo>
                    <a:pt x="69692" y="256"/>
                    <a:pt x="65015" y="9513"/>
                    <a:pt x="69819" y="16225"/>
                  </a:cubicBezTo>
                  <a:lnTo>
                    <a:pt x="94187" y="51250"/>
                  </a:lnTo>
                  <a:cubicBezTo>
                    <a:pt x="97623" y="56213"/>
                    <a:pt x="99659" y="61652"/>
                    <a:pt x="99659" y="66425"/>
                  </a:cubicBezTo>
                  <a:lnTo>
                    <a:pt x="99659" y="171847"/>
                  </a:lnTo>
                  <a:cubicBezTo>
                    <a:pt x="99659" y="179641"/>
                    <a:pt x="97050" y="184190"/>
                    <a:pt x="93010" y="187626"/>
                  </a:cubicBezTo>
                  <a:cubicBezTo>
                    <a:pt x="88906" y="191062"/>
                    <a:pt x="82925" y="193034"/>
                    <a:pt x="76849" y="193034"/>
                  </a:cubicBezTo>
                  <a:cubicBezTo>
                    <a:pt x="70710" y="193034"/>
                    <a:pt x="64792" y="191062"/>
                    <a:pt x="60720" y="187626"/>
                  </a:cubicBezTo>
                  <a:cubicBezTo>
                    <a:pt x="56680" y="184190"/>
                    <a:pt x="53976" y="179609"/>
                    <a:pt x="53976" y="171847"/>
                  </a:cubicBezTo>
                  <a:lnTo>
                    <a:pt x="53976" y="75171"/>
                  </a:lnTo>
                  <a:cubicBezTo>
                    <a:pt x="53976" y="73326"/>
                    <a:pt x="53499" y="71545"/>
                    <a:pt x="52576" y="69923"/>
                  </a:cubicBezTo>
                  <a:lnTo>
                    <a:pt x="29481" y="36806"/>
                  </a:lnTo>
                  <a:cubicBezTo>
                    <a:pt x="21655" y="25640"/>
                    <a:pt x="11698" y="35661"/>
                    <a:pt x="15580" y="43168"/>
                  </a:cubicBezTo>
                  <a:lnTo>
                    <a:pt x="33490" y="77907"/>
                  </a:lnTo>
                  <a:lnTo>
                    <a:pt x="33490" y="171594"/>
                  </a:lnTo>
                  <a:cubicBezTo>
                    <a:pt x="33490" y="178656"/>
                    <a:pt x="30976" y="183778"/>
                    <a:pt x="26681" y="187563"/>
                  </a:cubicBezTo>
                  <a:cubicBezTo>
                    <a:pt x="22674" y="191094"/>
                    <a:pt x="16597" y="193035"/>
                    <a:pt x="10426" y="193035"/>
                  </a:cubicBezTo>
                  <a:cubicBezTo>
                    <a:pt x="-3475" y="192876"/>
                    <a:pt x="-3475" y="213777"/>
                    <a:pt x="10426" y="213617"/>
                  </a:cubicBezTo>
                  <a:cubicBezTo>
                    <a:pt x="20892" y="213585"/>
                    <a:pt x="31550" y="210308"/>
                    <a:pt x="39915" y="203247"/>
                  </a:cubicBezTo>
                  <a:lnTo>
                    <a:pt x="47423" y="203247"/>
                  </a:lnTo>
                  <a:cubicBezTo>
                    <a:pt x="55757" y="210309"/>
                    <a:pt x="66351" y="213617"/>
                    <a:pt x="76849" y="213617"/>
                  </a:cubicBezTo>
                  <a:cubicBezTo>
                    <a:pt x="87251" y="213617"/>
                    <a:pt x="97877" y="210308"/>
                    <a:pt x="106212" y="203247"/>
                  </a:cubicBezTo>
                  <a:cubicBezTo>
                    <a:pt x="114546" y="196184"/>
                    <a:pt x="120241" y="185018"/>
                    <a:pt x="120241" y="171816"/>
                  </a:cubicBezTo>
                  <a:lnTo>
                    <a:pt x="120241" y="66394"/>
                  </a:lnTo>
                  <a:cubicBezTo>
                    <a:pt x="120241" y="56501"/>
                    <a:pt x="116393" y="47243"/>
                    <a:pt x="110761" y="39162"/>
                  </a:cubicBezTo>
                  <a:lnTo>
                    <a:pt x="86616" y="4583"/>
                  </a:lnTo>
                  <a:cubicBezTo>
                    <a:pt x="84708" y="1624"/>
                    <a:pt x="81431" y="-62"/>
                    <a:pt x="77868" y="2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5" name="Freeform: Shape 1064">
              <a:extLst>
                <a:ext uri="{FF2B5EF4-FFF2-40B4-BE49-F238E27FC236}">
                  <a16:creationId xmlns:a16="http://schemas.microsoft.com/office/drawing/2014/main" id="{CA7F0448-AADF-2544-59CF-ED9C049A11EE}"/>
                </a:ext>
              </a:extLst>
            </p:cNvPr>
            <p:cNvSpPr/>
            <p:nvPr/>
          </p:nvSpPr>
          <p:spPr>
            <a:xfrm>
              <a:off x="4255083" y="1751906"/>
              <a:ext cx="149484" cy="147711"/>
            </a:xfrm>
            <a:custGeom>
              <a:avLst/>
              <a:gdLst>
                <a:gd name="connsiteX0" fmla="*/ 54656 w 149484"/>
                <a:gd name="connsiteY0" fmla="*/ 24239 h 147711"/>
                <a:gd name="connsiteX1" fmla="*/ 96203 w 149484"/>
                <a:gd name="connsiteY1" fmla="*/ 24843 h 147711"/>
                <a:gd name="connsiteX2" fmla="*/ 124548 w 149484"/>
                <a:gd name="connsiteY2" fmla="*/ 94925 h 147711"/>
                <a:gd name="connsiteX3" fmla="*/ 53130 w 149484"/>
                <a:gd name="connsiteY3" fmla="*/ 122793 h 147711"/>
                <a:gd name="connsiteX4" fmla="*/ 24913 w 149484"/>
                <a:gd name="connsiteY4" fmla="*/ 52806 h 147711"/>
                <a:gd name="connsiteX5" fmla="*/ 54657 w 149484"/>
                <a:gd name="connsiteY5" fmla="*/ 24239 h 147711"/>
                <a:gd name="connsiteX6" fmla="*/ 47148 w 149484"/>
                <a:gd name="connsiteY6" fmla="*/ 5184 h 147711"/>
                <a:gd name="connsiteX7" fmla="*/ 6111 w 149484"/>
                <a:gd name="connsiteY7" fmla="*/ 44535 h 147711"/>
                <a:gd name="connsiteX8" fmla="*/ 45144 w 149484"/>
                <a:gd name="connsiteY8" fmla="*/ 141691 h 147711"/>
                <a:gd name="connsiteX9" fmla="*/ 143376 w 149484"/>
                <a:gd name="connsiteY9" fmla="*/ 103135 h 147711"/>
                <a:gd name="connsiteX10" fmla="*/ 104247 w 149484"/>
                <a:gd name="connsiteY10" fmla="*/ 5979 h 147711"/>
                <a:gd name="connsiteX11" fmla="*/ 47176 w 149484"/>
                <a:gd name="connsiteY11" fmla="*/ 5215 h 147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9484" h="147711">
                  <a:moveTo>
                    <a:pt x="54656" y="24239"/>
                  </a:moveTo>
                  <a:cubicBezTo>
                    <a:pt x="67572" y="19212"/>
                    <a:pt x="82428" y="18990"/>
                    <a:pt x="96203" y="24843"/>
                  </a:cubicBezTo>
                  <a:cubicBezTo>
                    <a:pt x="123911" y="36613"/>
                    <a:pt x="136382" y="67757"/>
                    <a:pt x="124548" y="94925"/>
                  </a:cubicBezTo>
                  <a:cubicBezTo>
                    <a:pt x="112619" y="122060"/>
                    <a:pt x="80870" y="134563"/>
                    <a:pt x="53130" y="122793"/>
                  </a:cubicBezTo>
                  <a:cubicBezTo>
                    <a:pt x="25517" y="111054"/>
                    <a:pt x="13078" y="79815"/>
                    <a:pt x="24913" y="52806"/>
                  </a:cubicBezTo>
                  <a:cubicBezTo>
                    <a:pt x="30894" y="39222"/>
                    <a:pt x="41805" y="29329"/>
                    <a:pt x="54657" y="24239"/>
                  </a:cubicBezTo>
                  <a:close/>
                  <a:moveTo>
                    <a:pt x="47148" y="5184"/>
                  </a:moveTo>
                  <a:cubicBezTo>
                    <a:pt x="29365" y="12151"/>
                    <a:pt x="14286" y="25894"/>
                    <a:pt x="6111" y="44535"/>
                  </a:cubicBezTo>
                  <a:cubicBezTo>
                    <a:pt x="-10241" y="81850"/>
                    <a:pt x="7383" y="125655"/>
                    <a:pt x="45144" y="141691"/>
                  </a:cubicBezTo>
                  <a:cubicBezTo>
                    <a:pt x="82905" y="157757"/>
                    <a:pt x="126998" y="140578"/>
                    <a:pt x="143376" y="103135"/>
                  </a:cubicBezTo>
                  <a:cubicBezTo>
                    <a:pt x="159727" y="65756"/>
                    <a:pt x="142103" y="22078"/>
                    <a:pt x="104247" y="5979"/>
                  </a:cubicBezTo>
                  <a:cubicBezTo>
                    <a:pt x="85414" y="-1975"/>
                    <a:pt x="64959" y="-1752"/>
                    <a:pt x="47176" y="5215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6" name="Freeform: Shape 1065">
              <a:extLst>
                <a:ext uri="{FF2B5EF4-FFF2-40B4-BE49-F238E27FC236}">
                  <a16:creationId xmlns:a16="http://schemas.microsoft.com/office/drawing/2014/main" id="{6D62F132-0680-4E42-2962-835EB3EB0057}"/>
                </a:ext>
              </a:extLst>
            </p:cNvPr>
            <p:cNvSpPr/>
            <p:nvPr/>
          </p:nvSpPr>
          <p:spPr>
            <a:xfrm>
              <a:off x="4097238" y="1906036"/>
              <a:ext cx="277498" cy="488157"/>
            </a:xfrm>
            <a:custGeom>
              <a:avLst/>
              <a:gdLst>
                <a:gd name="connsiteX0" fmla="*/ 39892 w 277498"/>
                <a:gd name="connsiteY0" fmla="*/ 20550 h 488157"/>
                <a:gd name="connsiteX1" fmla="*/ 75808 w 277498"/>
                <a:gd name="connsiteY1" fmla="*/ 20582 h 488157"/>
                <a:gd name="connsiteX2" fmla="*/ 101512 w 277498"/>
                <a:gd name="connsiteY2" fmla="*/ 35598 h 488157"/>
                <a:gd name="connsiteX3" fmla="*/ 167172 w 277498"/>
                <a:gd name="connsiteY3" fmla="*/ 100176 h 488157"/>
                <a:gd name="connsiteX4" fmla="*/ 174330 w 277498"/>
                <a:gd name="connsiteY4" fmla="*/ 103135 h 488157"/>
                <a:gd name="connsiteX5" fmla="*/ 236681 w 277498"/>
                <a:gd name="connsiteY5" fmla="*/ 103135 h 488157"/>
                <a:gd name="connsiteX6" fmla="*/ 252046 w 277498"/>
                <a:gd name="connsiteY6" fmla="*/ 108575 h 488157"/>
                <a:gd name="connsiteX7" fmla="*/ 257009 w 277498"/>
                <a:gd name="connsiteY7" fmla="*/ 122381 h 488157"/>
                <a:gd name="connsiteX8" fmla="*/ 252046 w 277498"/>
                <a:gd name="connsiteY8" fmla="*/ 136156 h 488157"/>
                <a:gd name="connsiteX9" fmla="*/ 236681 w 277498"/>
                <a:gd name="connsiteY9" fmla="*/ 141563 h 488157"/>
                <a:gd name="connsiteX10" fmla="*/ 162209 w 277498"/>
                <a:gd name="connsiteY10" fmla="*/ 141563 h 488157"/>
                <a:gd name="connsiteX11" fmla="*/ 148721 w 277498"/>
                <a:gd name="connsiteY11" fmla="*/ 135996 h 488157"/>
                <a:gd name="connsiteX12" fmla="*/ 120122 w 277498"/>
                <a:gd name="connsiteY12" fmla="*/ 107875 h 488157"/>
                <a:gd name="connsiteX13" fmla="*/ 102690 w 277498"/>
                <a:gd name="connsiteY13" fmla="*/ 115192 h 488157"/>
                <a:gd name="connsiteX14" fmla="*/ 102690 w 277498"/>
                <a:gd name="connsiteY14" fmla="*/ 229304 h 488157"/>
                <a:gd name="connsiteX15" fmla="*/ 109211 w 277498"/>
                <a:gd name="connsiteY15" fmla="*/ 238784 h 488157"/>
                <a:gd name="connsiteX16" fmla="*/ 164246 w 277498"/>
                <a:gd name="connsiteY16" fmla="*/ 260512 h 488157"/>
                <a:gd name="connsiteX17" fmla="*/ 179325 w 277498"/>
                <a:gd name="connsiteY17" fmla="*/ 279122 h 488157"/>
                <a:gd name="connsiteX18" fmla="*/ 206111 w 277498"/>
                <a:gd name="connsiteY18" fmla="*/ 439328 h 488157"/>
                <a:gd name="connsiteX19" fmla="*/ 201912 w 277498"/>
                <a:gd name="connsiteY19" fmla="*/ 458543 h 488157"/>
                <a:gd name="connsiteX20" fmla="*/ 186165 w 277498"/>
                <a:gd name="connsiteY20" fmla="*/ 467323 h 488157"/>
                <a:gd name="connsiteX21" fmla="*/ 168446 w 277498"/>
                <a:gd name="connsiteY21" fmla="*/ 464173 h 488157"/>
                <a:gd name="connsiteX22" fmla="*/ 158171 w 277498"/>
                <a:gd name="connsiteY22" fmla="*/ 447408 h 488157"/>
                <a:gd name="connsiteX23" fmla="*/ 134662 w 277498"/>
                <a:gd name="connsiteY23" fmla="*/ 306389 h 488157"/>
                <a:gd name="connsiteX24" fmla="*/ 128299 w 277498"/>
                <a:gd name="connsiteY24" fmla="*/ 298563 h 488157"/>
                <a:gd name="connsiteX25" fmla="*/ 35915 w 277498"/>
                <a:gd name="connsiteY25" fmla="*/ 262170 h 488157"/>
                <a:gd name="connsiteX26" fmla="*/ 20550 w 277498"/>
                <a:gd name="connsiteY26" fmla="*/ 239584 h 488157"/>
                <a:gd name="connsiteX27" fmla="*/ 20550 w 277498"/>
                <a:gd name="connsiteY27" fmla="*/ 239552 h 488157"/>
                <a:gd name="connsiteX28" fmla="*/ 20836 w 277498"/>
                <a:gd name="connsiteY28" fmla="*/ 41330 h 488157"/>
                <a:gd name="connsiteX29" fmla="*/ 39892 w 277498"/>
                <a:gd name="connsiteY29" fmla="*/ 20557 h 488157"/>
                <a:gd name="connsiteX30" fmla="*/ 39924 w 277498"/>
                <a:gd name="connsiteY30" fmla="*/ 0 h 488157"/>
                <a:gd name="connsiteX31" fmla="*/ 286 w 277498"/>
                <a:gd name="connsiteY31" fmla="*/ 41260 h 488157"/>
                <a:gd name="connsiteX32" fmla="*/ 0 w 277498"/>
                <a:gd name="connsiteY32" fmla="*/ 239514 h 488157"/>
                <a:gd name="connsiteX33" fmla="*/ 28376 w 277498"/>
                <a:gd name="connsiteY33" fmla="*/ 281220 h 488157"/>
                <a:gd name="connsiteX34" fmla="*/ 115287 w 277498"/>
                <a:gd name="connsiteY34" fmla="*/ 315418 h 488157"/>
                <a:gd name="connsiteX35" fmla="*/ 137874 w 277498"/>
                <a:gd name="connsiteY35" fmla="*/ 450679 h 488157"/>
                <a:gd name="connsiteX36" fmla="*/ 157534 w 277498"/>
                <a:gd name="connsiteY36" fmla="*/ 481505 h 488157"/>
                <a:gd name="connsiteX37" fmla="*/ 189537 w 277498"/>
                <a:gd name="connsiteY37" fmla="*/ 487486 h 488157"/>
                <a:gd name="connsiteX38" fmla="*/ 217882 w 277498"/>
                <a:gd name="connsiteY38" fmla="*/ 471326 h 488157"/>
                <a:gd name="connsiteX39" fmla="*/ 226376 w 277498"/>
                <a:gd name="connsiteY39" fmla="*/ 435855 h 488157"/>
                <a:gd name="connsiteX40" fmla="*/ 199558 w 277498"/>
                <a:gd name="connsiteY40" fmla="*/ 275714 h 488157"/>
                <a:gd name="connsiteX41" fmla="*/ 171786 w 277498"/>
                <a:gd name="connsiteY41" fmla="*/ 241357 h 488157"/>
                <a:gd name="connsiteX42" fmla="*/ 123209 w 277498"/>
                <a:gd name="connsiteY42" fmla="*/ 222269 h 488157"/>
                <a:gd name="connsiteX43" fmla="*/ 123209 w 277498"/>
                <a:gd name="connsiteY43" fmla="*/ 139715 h 488157"/>
                <a:gd name="connsiteX44" fmla="*/ 134343 w 277498"/>
                <a:gd name="connsiteY44" fmla="*/ 150690 h 488157"/>
                <a:gd name="connsiteX45" fmla="*/ 162179 w 277498"/>
                <a:gd name="connsiteY45" fmla="*/ 162079 h 488157"/>
                <a:gd name="connsiteX46" fmla="*/ 236301 w 277498"/>
                <a:gd name="connsiteY46" fmla="*/ 162079 h 488157"/>
                <a:gd name="connsiteX47" fmla="*/ 267224 w 277498"/>
                <a:gd name="connsiteY47" fmla="*/ 149958 h 488157"/>
                <a:gd name="connsiteX48" fmla="*/ 277499 w 277498"/>
                <a:gd name="connsiteY48" fmla="*/ 122377 h 488157"/>
                <a:gd name="connsiteX49" fmla="*/ 267224 w 277498"/>
                <a:gd name="connsiteY49" fmla="*/ 94701 h 488157"/>
                <a:gd name="connsiteX50" fmla="*/ 236301 w 277498"/>
                <a:gd name="connsiteY50" fmla="*/ 82644 h 488157"/>
                <a:gd name="connsiteX51" fmla="*/ 178530 w 277498"/>
                <a:gd name="connsiteY51" fmla="*/ 82644 h 488157"/>
                <a:gd name="connsiteX52" fmla="*/ 115924 w 277498"/>
                <a:gd name="connsiteY52" fmla="*/ 20961 h 488157"/>
                <a:gd name="connsiteX53" fmla="*/ 75905 w 277498"/>
                <a:gd name="connsiteY53" fmla="*/ 92 h 488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77498" h="488157">
                  <a:moveTo>
                    <a:pt x="39892" y="20550"/>
                  </a:moveTo>
                  <a:lnTo>
                    <a:pt x="75808" y="20582"/>
                  </a:lnTo>
                  <a:cubicBezTo>
                    <a:pt x="80708" y="20582"/>
                    <a:pt x="92637" y="26880"/>
                    <a:pt x="101512" y="35598"/>
                  </a:cubicBezTo>
                  <a:lnTo>
                    <a:pt x="167172" y="100176"/>
                  </a:lnTo>
                  <a:cubicBezTo>
                    <a:pt x="169049" y="102053"/>
                    <a:pt x="171658" y="103135"/>
                    <a:pt x="174330" y="103135"/>
                  </a:cubicBezTo>
                  <a:lnTo>
                    <a:pt x="236681" y="103135"/>
                  </a:lnTo>
                  <a:cubicBezTo>
                    <a:pt x="243234" y="103135"/>
                    <a:pt x="248738" y="105203"/>
                    <a:pt x="252046" y="108575"/>
                  </a:cubicBezTo>
                  <a:cubicBezTo>
                    <a:pt x="255291" y="111819"/>
                    <a:pt x="257009" y="117132"/>
                    <a:pt x="257009" y="122381"/>
                  </a:cubicBezTo>
                  <a:cubicBezTo>
                    <a:pt x="257009" y="127630"/>
                    <a:pt x="255545" y="133070"/>
                    <a:pt x="252046" y="136156"/>
                  </a:cubicBezTo>
                  <a:cubicBezTo>
                    <a:pt x="246383" y="141150"/>
                    <a:pt x="242057" y="141563"/>
                    <a:pt x="236681" y="141563"/>
                  </a:cubicBezTo>
                  <a:lnTo>
                    <a:pt x="162209" y="141563"/>
                  </a:lnTo>
                  <a:cubicBezTo>
                    <a:pt x="156451" y="141563"/>
                    <a:pt x="151807" y="139018"/>
                    <a:pt x="148721" y="135996"/>
                  </a:cubicBezTo>
                  <a:lnTo>
                    <a:pt x="120122" y="107875"/>
                  </a:lnTo>
                  <a:cubicBezTo>
                    <a:pt x="113664" y="101544"/>
                    <a:pt x="102753" y="106125"/>
                    <a:pt x="102690" y="115192"/>
                  </a:cubicBezTo>
                  <a:lnTo>
                    <a:pt x="102690" y="229304"/>
                  </a:lnTo>
                  <a:cubicBezTo>
                    <a:pt x="102721" y="233503"/>
                    <a:pt x="105266" y="237224"/>
                    <a:pt x="109211" y="238784"/>
                  </a:cubicBezTo>
                  <a:lnTo>
                    <a:pt x="164246" y="260512"/>
                  </a:lnTo>
                  <a:cubicBezTo>
                    <a:pt x="172199" y="263629"/>
                    <a:pt x="177925" y="270692"/>
                    <a:pt x="179325" y="279122"/>
                  </a:cubicBezTo>
                  <a:lnTo>
                    <a:pt x="206111" y="439328"/>
                  </a:lnTo>
                  <a:cubicBezTo>
                    <a:pt x="207638" y="448140"/>
                    <a:pt x="205602" y="453994"/>
                    <a:pt x="201912" y="458543"/>
                  </a:cubicBezTo>
                  <a:cubicBezTo>
                    <a:pt x="198254" y="463124"/>
                    <a:pt x="192432" y="466210"/>
                    <a:pt x="186165" y="467323"/>
                  </a:cubicBezTo>
                  <a:cubicBezTo>
                    <a:pt x="179834" y="468373"/>
                    <a:pt x="173377" y="467291"/>
                    <a:pt x="168446" y="464173"/>
                  </a:cubicBezTo>
                  <a:cubicBezTo>
                    <a:pt x="163483" y="461055"/>
                    <a:pt x="159634" y="456220"/>
                    <a:pt x="158171" y="447408"/>
                  </a:cubicBezTo>
                  <a:lnTo>
                    <a:pt x="134662" y="306389"/>
                  </a:lnTo>
                  <a:cubicBezTo>
                    <a:pt x="134057" y="302858"/>
                    <a:pt x="131640" y="299868"/>
                    <a:pt x="128299" y="298563"/>
                  </a:cubicBezTo>
                  <a:lnTo>
                    <a:pt x="35915" y="262170"/>
                  </a:lnTo>
                  <a:cubicBezTo>
                    <a:pt x="26626" y="258480"/>
                    <a:pt x="20550" y="249572"/>
                    <a:pt x="20550" y="239584"/>
                  </a:cubicBezTo>
                  <a:lnTo>
                    <a:pt x="20550" y="239552"/>
                  </a:lnTo>
                  <a:lnTo>
                    <a:pt x="20836" y="41330"/>
                  </a:lnTo>
                  <a:cubicBezTo>
                    <a:pt x="20773" y="29496"/>
                    <a:pt x="28757" y="20493"/>
                    <a:pt x="39892" y="20557"/>
                  </a:cubicBezTo>
                  <a:close/>
                  <a:moveTo>
                    <a:pt x="39924" y="0"/>
                  </a:moveTo>
                  <a:cubicBezTo>
                    <a:pt x="17306" y="0"/>
                    <a:pt x="286" y="19373"/>
                    <a:pt x="286" y="41260"/>
                  </a:cubicBezTo>
                  <a:lnTo>
                    <a:pt x="0" y="239514"/>
                  </a:lnTo>
                  <a:cubicBezTo>
                    <a:pt x="0" y="257870"/>
                    <a:pt x="11293" y="274476"/>
                    <a:pt x="28376" y="281220"/>
                  </a:cubicBezTo>
                  <a:lnTo>
                    <a:pt x="115287" y="315418"/>
                  </a:lnTo>
                  <a:lnTo>
                    <a:pt x="137874" y="450679"/>
                  </a:lnTo>
                  <a:cubicBezTo>
                    <a:pt x="140228" y="464581"/>
                    <a:pt x="147767" y="475365"/>
                    <a:pt x="157534" y="481505"/>
                  </a:cubicBezTo>
                  <a:cubicBezTo>
                    <a:pt x="167268" y="487582"/>
                    <a:pt x="178721" y="489267"/>
                    <a:pt x="189537" y="487486"/>
                  </a:cubicBezTo>
                  <a:cubicBezTo>
                    <a:pt x="200289" y="485673"/>
                    <a:pt x="210661" y="480265"/>
                    <a:pt x="217882" y="471326"/>
                  </a:cubicBezTo>
                  <a:cubicBezTo>
                    <a:pt x="225072" y="462386"/>
                    <a:pt x="228666" y="449757"/>
                    <a:pt x="226376" y="435855"/>
                  </a:cubicBezTo>
                  <a:lnTo>
                    <a:pt x="199558" y="275714"/>
                  </a:lnTo>
                  <a:cubicBezTo>
                    <a:pt x="197013" y="260158"/>
                    <a:pt x="186451" y="247115"/>
                    <a:pt x="171786" y="241357"/>
                  </a:cubicBezTo>
                  <a:lnTo>
                    <a:pt x="123209" y="222269"/>
                  </a:lnTo>
                  <a:lnTo>
                    <a:pt x="123209" y="139715"/>
                  </a:lnTo>
                  <a:lnTo>
                    <a:pt x="134343" y="150690"/>
                  </a:lnTo>
                  <a:cubicBezTo>
                    <a:pt x="141724" y="158007"/>
                    <a:pt x="151713" y="162079"/>
                    <a:pt x="162179" y="162079"/>
                  </a:cubicBezTo>
                  <a:lnTo>
                    <a:pt x="236301" y="162079"/>
                  </a:lnTo>
                  <a:cubicBezTo>
                    <a:pt x="249058" y="162556"/>
                    <a:pt x="260160" y="157688"/>
                    <a:pt x="267224" y="149958"/>
                  </a:cubicBezTo>
                  <a:cubicBezTo>
                    <a:pt x="274285" y="142228"/>
                    <a:pt x="277499" y="132239"/>
                    <a:pt x="277499" y="122377"/>
                  </a:cubicBezTo>
                  <a:cubicBezTo>
                    <a:pt x="277499" y="112547"/>
                    <a:pt x="274285" y="102431"/>
                    <a:pt x="267224" y="94701"/>
                  </a:cubicBezTo>
                  <a:cubicBezTo>
                    <a:pt x="260161" y="86971"/>
                    <a:pt x="249090" y="82103"/>
                    <a:pt x="236301" y="82644"/>
                  </a:cubicBezTo>
                  <a:lnTo>
                    <a:pt x="178530" y="82644"/>
                  </a:lnTo>
                  <a:lnTo>
                    <a:pt x="115924" y="20961"/>
                  </a:lnTo>
                  <a:cubicBezTo>
                    <a:pt x="104949" y="10177"/>
                    <a:pt x="91620" y="124"/>
                    <a:pt x="75905" y="92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7" name="Freeform: Shape 1066">
              <a:extLst>
                <a:ext uri="{FF2B5EF4-FFF2-40B4-BE49-F238E27FC236}">
                  <a16:creationId xmlns:a16="http://schemas.microsoft.com/office/drawing/2014/main" id="{40123CF1-79EF-7A1D-BDD7-2A9AA6DBCA8E}"/>
                </a:ext>
              </a:extLst>
            </p:cNvPr>
            <p:cNvSpPr/>
            <p:nvPr/>
          </p:nvSpPr>
          <p:spPr>
            <a:xfrm>
              <a:off x="4080686" y="1739315"/>
              <a:ext cx="156322" cy="156272"/>
            </a:xfrm>
            <a:custGeom>
              <a:avLst/>
              <a:gdLst>
                <a:gd name="connsiteX0" fmla="*/ 99452 w 156322"/>
                <a:gd name="connsiteY0" fmla="*/ 24524 h 156272"/>
                <a:gd name="connsiteX1" fmla="*/ 131136 w 156322"/>
                <a:gd name="connsiteY1" fmla="*/ 55286 h 156272"/>
                <a:gd name="connsiteX2" fmla="*/ 101074 w 156322"/>
                <a:gd name="connsiteY2" fmla="*/ 130967 h 156272"/>
                <a:gd name="connsiteX3" fmla="*/ 25234 w 156322"/>
                <a:gd name="connsiteY3" fmla="*/ 100905 h 156272"/>
                <a:gd name="connsiteX4" fmla="*/ 55360 w 156322"/>
                <a:gd name="connsiteY4" fmla="*/ 25160 h 156272"/>
                <a:gd name="connsiteX5" fmla="*/ 99452 w 156322"/>
                <a:gd name="connsiteY5" fmla="*/ 24524 h 156272"/>
                <a:gd name="connsiteX6" fmla="*/ 106991 w 156322"/>
                <a:gd name="connsiteY6" fmla="*/ 5533 h 156272"/>
                <a:gd name="connsiteX7" fmla="*/ 47184 w 156322"/>
                <a:gd name="connsiteY7" fmla="*/ 6328 h 156272"/>
                <a:gd name="connsiteX8" fmla="*/ 6370 w 156322"/>
                <a:gd name="connsiteY8" fmla="*/ 109079 h 156272"/>
                <a:gd name="connsiteX9" fmla="*/ 109219 w 156322"/>
                <a:gd name="connsiteY9" fmla="*/ 149894 h 156272"/>
                <a:gd name="connsiteX10" fmla="*/ 149938 w 156322"/>
                <a:gd name="connsiteY10" fmla="*/ 47143 h 156272"/>
                <a:gd name="connsiteX11" fmla="*/ 106992 w 156322"/>
                <a:gd name="connsiteY11" fmla="*/ 5533 h 156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322" h="156272">
                  <a:moveTo>
                    <a:pt x="99452" y="24524"/>
                  </a:moveTo>
                  <a:cubicBezTo>
                    <a:pt x="113131" y="29964"/>
                    <a:pt x="124774" y="40653"/>
                    <a:pt x="131136" y="55286"/>
                  </a:cubicBezTo>
                  <a:cubicBezTo>
                    <a:pt x="143766" y="84553"/>
                    <a:pt x="130341" y="118337"/>
                    <a:pt x="101074" y="130967"/>
                  </a:cubicBezTo>
                  <a:cubicBezTo>
                    <a:pt x="71648" y="143628"/>
                    <a:pt x="37927" y="130299"/>
                    <a:pt x="25234" y="100905"/>
                  </a:cubicBezTo>
                  <a:cubicBezTo>
                    <a:pt x="12605" y="71605"/>
                    <a:pt x="25934" y="37853"/>
                    <a:pt x="55360" y="25160"/>
                  </a:cubicBezTo>
                  <a:cubicBezTo>
                    <a:pt x="69994" y="18862"/>
                    <a:pt x="85741" y="19116"/>
                    <a:pt x="99452" y="24524"/>
                  </a:cubicBezTo>
                  <a:close/>
                  <a:moveTo>
                    <a:pt x="106991" y="5533"/>
                  </a:moveTo>
                  <a:cubicBezTo>
                    <a:pt x="88381" y="-1816"/>
                    <a:pt x="66940" y="-2134"/>
                    <a:pt x="47184" y="6328"/>
                  </a:cubicBezTo>
                  <a:cubicBezTo>
                    <a:pt x="7610" y="23412"/>
                    <a:pt x="-10650" y="69570"/>
                    <a:pt x="6370" y="109079"/>
                  </a:cubicBezTo>
                  <a:cubicBezTo>
                    <a:pt x="23485" y="148622"/>
                    <a:pt x="69612" y="166946"/>
                    <a:pt x="109219" y="149894"/>
                  </a:cubicBezTo>
                  <a:cubicBezTo>
                    <a:pt x="148698" y="132875"/>
                    <a:pt x="166990" y="86652"/>
                    <a:pt x="149938" y="47143"/>
                  </a:cubicBezTo>
                  <a:cubicBezTo>
                    <a:pt x="141412" y="27419"/>
                    <a:pt x="125602" y="12913"/>
                    <a:pt x="106992" y="5533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8" name="Freeform: Shape 1067">
              <a:extLst>
                <a:ext uri="{FF2B5EF4-FFF2-40B4-BE49-F238E27FC236}">
                  <a16:creationId xmlns:a16="http://schemas.microsoft.com/office/drawing/2014/main" id="{E412E7DF-4C55-CFFC-F8DC-2ECE75B64E23}"/>
                </a:ext>
              </a:extLst>
            </p:cNvPr>
            <p:cNvSpPr/>
            <p:nvPr/>
          </p:nvSpPr>
          <p:spPr>
            <a:xfrm>
              <a:off x="4059729" y="1970957"/>
              <a:ext cx="141571" cy="413609"/>
            </a:xfrm>
            <a:custGeom>
              <a:avLst/>
              <a:gdLst>
                <a:gd name="connsiteX0" fmla="*/ 10180 w 141571"/>
                <a:gd name="connsiteY0" fmla="*/ 6 h 413609"/>
                <a:gd name="connsiteX1" fmla="*/ 32 w 141571"/>
                <a:gd name="connsiteY1" fmla="*/ 10376 h 413609"/>
                <a:gd name="connsiteX2" fmla="*/ 32 w 141571"/>
                <a:gd name="connsiteY2" fmla="*/ 156396 h 413609"/>
                <a:gd name="connsiteX3" fmla="*/ 7953 w 141571"/>
                <a:gd name="connsiteY3" fmla="*/ 211812 h 413609"/>
                <a:gd name="connsiteX4" fmla="*/ 51727 w 141571"/>
                <a:gd name="connsiteY4" fmla="*/ 249382 h 413609"/>
                <a:gd name="connsiteX5" fmla="*/ 58280 w 141571"/>
                <a:gd name="connsiteY5" fmla="*/ 251705 h 413609"/>
                <a:gd name="connsiteX6" fmla="*/ 58280 w 141571"/>
                <a:gd name="connsiteY6" fmla="*/ 361997 h 413609"/>
                <a:gd name="connsiteX7" fmla="*/ 1687 w 141571"/>
                <a:gd name="connsiteY7" fmla="*/ 397817 h 413609"/>
                <a:gd name="connsiteX8" fmla="*/ 19215 w 141571"/>
                <a:gd name="connsiteY8" fmla="*/ 408570 h 413609"/>
                <a:gd name="connsiteX9" fmla="*/ 68555 w 141571"/>
                <a:gd name="connsiteY9" fmla="*/ 381848 h 413609"/>
                <a:gd name="connsiteX10" fmla="*/ 117864 w 141571"/>
                <a:gd name="connsiteY10" fmla="*/ 408570 h 413609"/>
                <a:gd name="connsiteX11" fmla="*/ 132021 w 141571"/>
                <a:gd name="connsiteY11" fmla="*/ 411973 h 413609"/>
                <a:gd name="connsiteX12" fmla="*/ 135360 w 141571"/>
                <a:gd name="connsiteY12" fmla="*/ 397816 h 413609"/>
                <a:gd name="connsiteX13" fmla="*/ 78831 w 141571"/>
                <a:gd name="connsiteY13" fmla="*/ 361996 h 413609"/>
                <a:gd name="connsiteX14" fmla="*/ 78799 w 141571"/>
                <a:gd name="connsiteY14" fmla="*/ 259017 h 413609"/>
                <a:gd name="connsiteX15" fmla="*/ 127821 w 141571"/>
                <a:gd name="connsiteY15" fmla="*/ 276545 h 413609"/>
                <a:gd name="connsiteX16" fmla="*/ 140959 w 141571"/>
                <a:gd name="connsiteY16" fmla="*/ 270342 h 413609"/>
                <a:gd name="connsiteX17" fmla="*/ 134693 w 141571"/>
                <a:gd name="connsiteY17" fmla="*/ 257204 h 413609"/>
                <a:gd name="connsiteX18" fmla="*/ 58631 w 141571"/>
                <a:gd name="connsiteY18" fmla="*/ 230068 h 413609"/>
                <a:gd name="connsiteX19" fmla="*/ 26819 w 141571"/>
                <a:gd name="connsiteY19" fmla="*/ 203632 h 413609"/>
                <a:gd name="connsiteX20" fmla="*/ 20615 w 141571"/>
                <a:gd name="connsiteY20" fmla="*/ 156391 h 413609"/>
                <a:gd name="connsiteX21" fmla="*/ 20584 w 141571"/>
                <a:gd name="connsiteY21" fmla="*/ 10372 h 413609"/>
                <a:gd name="connsiteX22" fmla="*/ 10181 w 141571"/>
                <a:gd name="connsiteY22" fmla="*/ 1 h 413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571" h="413609">
                  <a:moveTo>
                    <a:pt x="10180" y="6"/>
                  </a:moveTo>
                  <a:cubicBezTo>
                    <a:pt x="4518" y="37"/>
                    <a:pt x="0" y="4682"/>
                    <a:pt x="32" y="10376"/>
                  </a:cubicBezTo>
                  <a:lnTo>
                    <a:pt x="32" y="156396"/>
                  </a:lnTo>
                  <a:cubicBezTo>
                    <a:pt x="32" y="176946"/>
                    <a:pt x="796" y="195429"/>
                    <a:pt x="7953" y="211812"/>
                  </a:cubicBezTo>
                  <a:cubicBezTo>
                    <a:pt x="15143" y="228259"/>
                    <a:pt x="29395" y="241397"/>
                    <a:pt x="51727" y="249382"/>
                  </a:cubicBezTo>
                  <a:lnTo>
                    <a:pt x="58280" y="251705"/>
                  </a:lnTo>
                  <a:lnTo>
                    <a:pt x="58280" y="361997"/>
                  </a:lnTo>
                  <a:cubicBezTo>
                    <a:pt x="34898" y="364955"/>
                    <a:pt x="13902" y="377935"/>
                    <a:pt x="1687" y="397817"/>
                  </a:cubicBezTo>
                  <a:cubicBezTo>
                    <a:pt x="-5471" y="409524"/>
                    <a:pt x="12025" y="420245"/>
                    <a:pt x="19215" y="408570"/>
                  </a:cubicBezTo>
                  <a:cubicBezTo>
                    <a:pt x="29204" y="392250"/>
                    <a:pt x="48005" y="381848"/>
                    <a:pt x="68555" y="381848"/>
                  </a:cubicBezTo>
                  <a:cubicBezTo>
                    <a:pt x="89041" y="381848"/>
                    <a:pt x="107811" y="392250"/>
                    <a:pt x="117864" y="408570"/>
                  </a:cubicBezTo>
                  <a:cubicBezTo>
                    <a:pt x="120822" y="413405"/>
                    <a:pt x="127153" y="414932"/>
                    <a:pt x="132021" y="411973"/>
                  </a:cubicBezTo>
                  <a:cubicBezTo>
                    <a:pt x="136824" y="409014"/>
                    <a:pt x="138319" y="402684"/>
                    <a:pt x="135360" y="397816"/>
                  </a:cubicBezTo>
                  <a:cubicBezTo>
                    <a:pt x="123208" y="377934"/>
                    <a:pt x="102181" y="364954"/>
                    <a:pt x="78831" y="361996"/>
                  </a:cubicBezTo>
                  <a:lnTo>
                    <a:pt x="78799" y="259017"/>
                  </a:lnTo>
                  <a:lnTo>
                    <a:pt x="127821" y="276545"/>
                  </a:lnTo>
                  <a:cubicBezTo>
                    <a:pt x="133166" y="278486"/>
                    <a:pt x="139082" y="275655"/>
                    <a:pt x="140959" y="270342"/>
                  </a:cubicBezTo>
                  <a:cubicBezTo>
                    <a:pt x="142900" y="264966"/>
                    <a:pt x="140068" y="259081"/>
                    <a:pt x="134693" y="257204"/>
                  </a:cubicBezTo>
                  <a:lnTo>
                    <a:pt x="58631" y="230068"/>
                  </a:lnTo>
                  <a:cubicBezTo>
                    <a:pt x="40020" y="223420"/>
                    <a:pt x="31844" y="215117"/>
                    <a:pt x="26819" y="203632"/>
                  </a:cubicBezTo>
                  <a:cubicBezTo>
                    <a:pt x="21824" y="192116"/>
                    <a:pt x="20615" y="176306"/>
                    <a:pt x="20615" y="156391"/>
                  </a:cubicBezTo>
                  <a:lnTo>
                    <a:pt x="20584" y="10372"/>
                  </a:lnTo>
                  <a:cubicBezTo>
                    <a:pt x="20647" y="4582"/>
                    <a:pt x="15971" y="-95"/>
                    <a:pt x="10181" y="1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69" name="Freeform: Shape 1068">
              <a:extLst>
                <a:ext uri="{FF2B5EF4-FFF2-40B4-BE49-F238E27FC236}">
                  <a16:creationId xmlns:a16="http://schemas.microsoft.com/office/drawing/2014/main" id="{D973C405-63CB-3216-DA6D-45906B0DD47A}"/>
                </a:ext>
              </a:extLst>
            </p:cNvPr>
            <p:cNvSpPr/>
            <p:nvPr/>
          </p:nvSpPr>
          <p:spPr>
            <a:xfrm>
              <a:off x="4493640" y="1906036"/>
              <a:ext cx="280360" cy="488125"/>
            </a:xfrm>
            <a:custGeom>
              <a:avLst/>
              <a:gdLst>
                <a:gd name="connsiteX0" fmla="*/ 240501 w 280360"/>
                <a:gd name="connsiteY0" fmla="*/ 20550 h 488125"/>
                <a:gd name="connsiteX1" fmla="*/ 204585 w 280360"/>
                <a:gd name="connsiteY1" fmla="*/ 20582 h 488125"/>
                <a:gd name="connsiteX2" fmla="*/ 178944 w 280360"/>
                <a:gd name="connsiteY2" fmla="*/ 35598 h 488125"/>
                <a:gd name="connsiteX3" fmla="*/ 113253 w 280360"/>
                <a:gd name="connsiteY3" fmla="*/ 100176 h 488125"/>
                <a:gd name="connsiteX4" fmla="*/ 106127 w 280360"/>
                <a:gd name="connsiteY4" fmla="*/ 103135 h 488125"/>
                <a:gd name="connsiteX5" fmla="*/ 40912 w 280360"/>
                <a:gd name="connsiteY5" fmla="*/ 103135 h 488125"/>
                <a:gd name="connsiteX6" fmla="*/ 25547 w 280360"/>
                <a:gd name="connsiteY6" fmla="*/ 108575 h 488125"/>
                <a:gd name="connsiteX7" fmla="*/ 20584 w 280360"/>
                <a:gd name="connsiteY7" fmla="*/ 122381 h 488125"/>
                <a:gd name="connsiteX8" fmla="*/ 25547 w 280360"/>
                <a:gd name="connsiteY8" fmla="*/ 136156 h 488125"/>
                <a:gd name="connsiteX9" fmla="*/ 40912 w 280360"/>
                <a:gd name="connsiteY9" fmla="*/ 141563 h 488125"/>
                <a:gd name="connsiteX10" fmla="*/ 118184 w 280360"/>
                <a:gd name="connsiteY10" fmla="*/ 141563 h 488125"/>
                <a:gd name="connsiteX11" fmla="*/ 131704 w 280360"/>
                <a:gd name="connsiteY11" fmla="*/ 135996 h 488125"/>
                <a:gd name="connsiteX12" fmla="*/ 160271 w 280360"/>
                <a:gd name="connsiteY12" fmla="*/ 107875 h 488125"/>
                <a:gd name="connsiteX13" fmla="*/ 177704 w 280360"/>
                <a:gd name="connsiteY13" fmla="*/ 115192 h 488125"/>
                <a:gd name="connsiteX14" fmla="*/ 177704 w 280360"/>
                <a:gd name="connsiteY14" fmla="*/ 229304 h 488125"/>
                <a:gd name="connsiteX15" fmla="*/ 171246 w 280360"/>
                <a:gd name="connsiteY15" fmla="*/ 238784 h 488125"/>
                <a:gd name="connsiteX16" fmla="*/ 116180 w 280360"/>
                <a:gd name="connsiteY16" fmla="*/ 260512 h 488125"/>
                <a:gd name="connsiteX17" fmla="*/ 101037 w 280360"/>
                <a:gd name="connsiteY17" fmla="*/ 279122 h 488125"/>
                <a:gd name="connsiteX18" fmla="*/ 74251 w 280360"/>
                <a:gd name="connsiteY18" fmla="*/ 439328 h 488125"/>
                <a:gd name="connsiteX19" fmla="*/ 78450 w 280360"/>
                <a:gd name="connsiteY19" fmla="*/ 458543 h 488125"/>
                <a:gd name="connsiteX20" fmla="*/ 94229 w 280360"/>
                <a:gd name="connsiteY20" fmla="*/ 467323 h 488125"/>
                <a:gd name="connsiteX21" fmla="*/ 111917 w 280360"/>
                <a:gd name="connsiteY21" fmla="*/ 464173 h 488125"/>
                <a:gd name="connsiteX22" fmla="*/ 122223 w 280360"/>
                <a:gd name="connsiteY22" fmla="*/ 447408 h 488125"/>
                <a:gd name="connsiteX23" fmla="*/ 145733 w 280360"/>
                <a:gd name="connsiteY23" fmla="*/ 306389 h 488125"/>
                <a:gd name="connsiteX24" fmla="*/ 152063 w 280360"/>
                <a:gd name="connsiteY24" fmla="*/ 298563 h 488125"/>
                <a:gd name="connsiteX25" fmla="*/ 244447 w 280360"/>
                <a:gd name="connsiteY25" fmla="*/ 262170 h 488125"/>
                <a:gd name="connsiteX26" fmla="*/ 259812 w 280360"/>
                <a:gd name="connsiteY26" fmla="*/ 239584 h 488125"/>
                <a:gd name="connsiteX27" fmla="*/ 259812 w 280360"/>
                <a:gd name="connsiteY27" fmla="*/ 239552 h 488125"/>
                <a:gd name="connsiteX28" fmla="*/ 259589 w 280360"/>
                <a:gd name="connsiteY28" fmla="*/ 41330 h 488125"/>
                <a:gd name="connsiteX29" fmla="*/ 240502 w 280360"/>
                <a:gd name="connsiteY29" fmla="*/ 20557 h 488125"/>
                <a:gd name="connsiteX30" fmla="*/ 240437 w 280360"/>
                <a:gd name="connsiteY30" fmla="*/ 0 h 488125"/>
                <a:gd name="connsiteX31" fmla="*/ 280107 w 280360"/>
                <a:gd name="connsiteY31" fmla="*/ 41260 h 488125"/>
                <a:gd name="connsiteX32" fmla="*/ 280361 w 280360"/>
                <a:gd name="connsiteY32" fmla="*/ 239482 h 488125"/>
                <a:gd name="connsiteX33" fmla="*/ 251984 w 280360"/>
                <a:gd name="connsiteY33" fmla="*/ 281187 h 488125"/>
                <a:gd name="connsiteX34" fmla="*/ 165073 w 280360"/>
                <a:gd name="connsiteY34" fmla="*/ 315385 h 488125"/>
                <a:gd name="connsiteX35" fmla="*/ 142487 w 280360"/>
                <a:gd name="connsiteY35" fmla="*/ 450647 h 488125"/>
                <a:gd name="connsiteX36" fmla="*/ 122827 w 280360"/>
                <a:gd name="connsiteY36" fmla="*/ 481473 h 488125"/>
                <a:gd name="connsiteX37" fmla="*/ 90855 w 280360"/>
                <a:gd name="connsiteY37" fmla="*/ 487454 h 488125"/>
                <a:gd name="connsiteX38" fmla="*/ 62543 w 280360"/>
                <a:gd name="connsiteY38" fmla="*/ 471293 h 488125"/>
                <a:gd name="connsiteX39" fmla="*/ 54048 w 280360"/>
                <a:gd name="connsiteY39" fmla="*/ 435822 h 488125"/>
                <a:gd name="connsiteX40" fmla="*/ 80803 w 280360"/>
                <a:gd name="connsiteY40" fmla="*/ 275681 h 488125"/>
                <a:gd name="connsiteX41" fmla="*/ 108607 w 280360"/>
                <a:gd name="connsiteY41" fmla="*/ 241324 h 488125"/>
                <a:gd name="connsiteX42" fmla="*/ 157151 w 280360"/>
                <a:gd name="connsiteY42" fmla="*/ 222236 h 488125"/>
                <a:gd name="connsiteX43" fmla="*/ 157151 w 280360"/>
                <a:gd name="connsiteY43" fmla="*/ 139682 h 488125"/>
                <a:gd name="connsiteX44" fmla="*/ 146081 w 280360"/>
                <a:gd name="connsiteY44" fmla="*/ 150658 h 488125"/>
                <a:gd name="connsiteX45" fmla="*/ 118213 w 280360"/>
                <a:gd name="connsiteY45" fmla="*/ 162046 h 488125"/>
                <a:gd name="connsiteX46" fmla="*/ 41260 w 280360"/>
                <a:gd name="connsiteY46" fmla="*/ 162046 h 488125"/>
                <a:gd name="connsiteX47" fmla="*/ 10339 w 280360"/>
                <a:gd name="connsiteY47" fmla="*/ 149925 h 488125"/>
                <a:gd name="connsiteX48" fmla="*/ 0 w 280360"/>
                <a:gd name="connsiteY48" fmla="*/ 122345 h 488125"/>
                <a:gd name="connsiteX49" fmla="*/ 10339 w 280360"/>
                <a:gd name="connsiteY49" fmla="*/ 94668 h 488125"/>
                <a:gd name="connsiteX50" fmla="*/ 41260 w 280360"/>
                <a:gd name="connsiteY50" fmla="*/ 82611 h 488125"/>
                <a:gd name="connsiteX51" fmla="*/ 101830 w 280360"/>
                <a:gd name="connsiteY51" fmla="*/ 82611 h 488125"/>
                <a:gd name="connsiteX52" fmla="*/ 164404 w 280360"/>
                <a:gd name="connsiteY52" fmla="*/ 20928 h 488125"/>
                <a:gd name="connsiteX53" fmla="*/ 204424 w 280360"/>
                <a:gd name="connsiteY53" fmla="*/ 59 h 48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80360" h="488125">
                  <a:moveTo>
                    <a:pt x="240501" y="20550"/>
                  </a:moveTo>
                  <a:lnTo>
                    <a:pt x="204585" y="20582"/>
                  </a:lnTo>
                  <a:cubicBezTo>
                    <a:pt x="199749" y="20582"/>
                    <a:pt x="187756" y="26880"/>
                    <a:pt x="178944" y="35598"/>
                  </a:cubicBezTo>
                  <a:lnTo>
                    <a:pt x="113253" y="100176"/>
                  </a:lnTo>
                  <a:cubicBezTo>
                    <a:pt x="111376" y="102053"/>
                    <a:pt x="108767" y="103135"/>
                    <a:pt x="106127" y="103135"/>
                  </a:cubicBezTo>
                  <a:lnTo>
                    <a:pt x="40912" y="103135"/>
                  </a:lnTo>
                  <a:cubicBezTo>
                    <a:pt x="34359" y="103135"/>
                    <a:pt x="28887" y="105203"/>
                    <a:pt x="25547" y="108575"/>
                  </a:cubicBezTo>
                  <a:cubicBezTo>
                    <a:pt x="22303" y="111819"/>
                    <a:pt x="20584" y="117132"/>
                    <a:pt x="20584" y="122381"/>
                  </a:cubicBezTo>
                  <a:cubicBezTo>
                    <a:pt x="20584" y="127630"/>
                    <a:pt x="22111" y="133070"/>
                    <a:pt x="25547" y="136156"/>
                  </a:cubicBezTo>
                  <a:cubicBezTo>
                    <a:pt x="31210" y="141150"/>
                    <a:pt x="35537" y="141563"/>
                    <a:pt x="40912" y="141563"/>
                  </a:cubicBezTo>
                  <a:lnTo>
                    <a:pt x="118184" y="141563"/>
                  </a:lnTo>
                  <a:cubicBezTo>
                    <a:pt x="123942" y="141563"/>
                    <a:pt x="128586" y="139018"/>
                    <a:pt x="131704" y="135996"/>
                  </a:cubicBezTo>
                  <a:lnTo>
                    <a:pt x="160271" y="107875"/>
                  </a:lnTo>
                  <a:cubicBezTo>
                    <a:pt x="166793" y="101544"/>
                    <a:pt x="177672" y="106125"/>
                    <a:pt x="177704" y="115192"/>
                  </a:cubicBezTo>
                  <a:lnTo>
                    <a:pt x="177704" y="229304"/>
                  </a:lnTo>
                  <a:cubicBezTo>
                    <a:pt x="177704" y="233503"/>
                    <a:pt x="175096" y="237224"/>
                    <a:pt x="171246" y="238784"/>
                  </a:cubicBezTo>
                  <a:lnTo>
                    <a:pt x="116180" y="260512"/>
                  </a:lnTo>
                  <a:cubicBezTo>
                    <a:pt x="108227" y="263629"/>
                    <a:pt x="102469" y="270692"/>
                    <a:pt x="101037" y="279122"/>
                  </a:cubicBezTo>
                  <a:lnTo>
                    <a:pt x="74251" y="439328"/>
                  </a:lnTo>
                  <a:cubicBezTo>
                    <a:pt x="72787" y="448140"/>
                    <a:pt x="74823" y="453994"/>
                    <a:pt x="78450" y="458543"/>
                  </a:cubicBezTo>
                  <a:cubicBezTo>
                    <a:pt x="82141" y="463124"/>
                    <a:pt x="87962" y="466210"/>
                    <a:pt x="94229" y="467323"/>
                  </a:cubicBezTo>
                  <a:cubicBezTo>
                    <a:pt x="100496" y="468373"/>
                    <a:pt x="106953" y="467291"/>
                    <a:pt x="111917" y="464173"/>
                  </a:cubicBezTo>
                  <a:cubicBezTo>
                    <a:pt x="116879" y="461055"/>
                    <a:pt x="120761" y="456220"/>
                    <a:pt x="122223" y="447408"/>
                  </a:cubicBezTo>
                  <a:lnTo>
                    <a:pt x="145733" y="306389"/>
                  </a:lnTo>
                  <a:cubicBezTo>
                    <a:pt x="146305" y="302858"/>
                    <a:pt x="148691" y="299868"/>
                    <a:pt x="152063" y="298563"/>
                  </a:cubicBezTo>
                  <a:lnTo>
                    <a:pt x="244447" y="262170"/>
                  </a:lnTo>
                  <a:cubicBezTo>
                    <a:pt x="253768" y="258480"/>
                    <a:pt x="259812" y="249572"/>
                    <a:pt x="259812" y="239584"/>
                  </a:cubicBezTo>
                  <a:lnTo>
                    <a:pt x="259812" y="239552"/>
                  </a:lnTo>
                  <a:lnTo>
                    <a:pt x="259589" y="41330"/>
                  </a:lnTo>
                  <a:cubicBezTo>
                    <a:pt x="259589" y="29496"/>
                    <a:pt x="251637" y="20493"/>
                    <a:pt x="240502" y="20557"/>
                  </a:cubicBezTo>
                  <a:close/>
                  <a:moveTo>
                    <a:pt x="240437" y="0"/>
                  </a:moveTo>
                  <a:cubicBezTo>
                    <a:pt x="263119" y="0"/>
                    <a:pt x="280075" y="19373"/>
                    <a:pt x="280107" y="41260"/>
                  </a:cubicBezTo>
                  <a:lnTo>
                    <a:pt x="280361" y="239482"/>
                  </a:lnTo>
                  <a:cubicBezTo>
                    <a:pt x="280393" y="257837"/>
                    <a:pt x="269100" y="274444"/>
                    <a:pt x="251984" y="281187"/>
                  </a:cubicBezTo>
                  <a:lnTo>
                    <a:pt x="165073" y="315385"/>
                  </a:lnTo>
                  <a:lnTo>
                    <a:pt x="142487" y="450647"/>
                  </a:lnTo>
                  <a:cubicBezTo>
                    <a:pt x="140165" y="464548"/>
                    <a:pt x="132594" y="475332"/>
                    <a:pt x="122827" y="481473"/>
                  </a:cubicBezTo>
                  <a:cubicBezTo>
                    <a:pt x="113124" y="487549"/>
                    <a:pt x="101608" y="489235"/>
                    <a:pt x="90855" y="487454"/>
                  </a:cubicBezTo>
                  <a:cubicBezTo>
                    <a:pt x="80071" y="485640"/>
                    <a:pt x="69732" y="480233"/>
                    <a:pt x="62543" y="471293"/>
                  </a:cubicBezTo>
                  <a:cubicBezTo>
                    <a:pt x="55290" y="462354"/>
                    <a:pt x="51695" y="449725"/>
                    <a:pt x="54048" y="435822"/>
                  </a:cubicBezTo>
                  <a:lnTo>
                    <a:pt x="80803" y="275681"/>
                  </a:lnTo>
                  <a:cubicBezTo>
                    <a:pt x="83411" y="260125"/>
                    <a:pt x="93941" y="247083"/>
                    <a:pt x="108607" y="241324"/>
                  </a:cubicBezTo>
                  <a:lnTo>
                    <a:pt x="157151" y="222236"/>
                  </a:lnTo>
                  <a:lnTo>
                    <a:pt x="157151" y="139682"/>
                  </a:lnTo>
                  <a:lnTo>
                    <a:pt x="146081" y="150658"/>
                  </a:lnTo>
                  <a:cubicBezTo>
                    <a:pt x="138637" y="157974"/>
                    <a:pt x="128648" y="162046"/>
                    <a:pt x="118213" y="162046"/>
                  </a:cubicBezTo>
                  <a:lnTo>
                    <a:pt x="41260" y="162046"/>
                  </a:lnTo>
                  <a:cubicBezTo>
                    <a:pt x="28440" y="162523"/>
                    <a:pt x="17401" y="157656"/>
                    <a:pt x="10339" y="149925"/>
                  </a:cubicBezTo>
                  <a:cubicBezTo>
                    <a:pt x="3276" y="142194"/>
                    <a:pt x="0" y="132206"/>
                    <a:pt x="0" y="122345"/>
                  </a:cubicBezTo>
                  <a:cubicBezTo>
                    <a:pt x="0" y="112515"/>
                    <a:pt x="3245" y="102399"/>
                    <a:pt x="10339" y="94668"/>
                  </a:cubicBezTo>
                  <a:cubicBezTo>
                    <a:pt x="17401" y="86938"/>
                    <a:pt x="28440" y="82071"/>
                    <a:pt x="41260" y="82611"/>
                  </a:cubicBezTo>
                  <a:lnTo>
                    <a:pt x="101830" y="82611"/>
                  </a:lnTo>
                  <a:lnTo>
                    <a:pt x="164404" y="20928"/>
                  </a:lnTo>
                  <a:cubicBezTo>
                    <a:pt x="175443" y="10144"/>
                    <a:pt x="188772" y="91"/>
                    <a:pt x="204424" y="59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70" name="Freeform: Shape 1069">
              <a:extLst>
                <a:ext uri="{FF2B5EF4-FFF2-40B4-BE49-F238E27FC236}">
                  <a16:creationId xmlns:a16="http://schemas.microsoft.com/office/drawing/2014/main" id="{72580F66-DD9C-8EFF-D137-4F0061AA87BB}"/>
                </a:ext>
              </a:extLst>
            </p:cNvPr>
            <p:cNvSpPr/>
            <p:nvPr/>
          </p:nvSpPr>
          <p:spPr>
            <a:xfrm>
              <a:off x="4634247" y="1739315"/>
              <a:ext cx="156306" cy="156240"/>
            </a:xfrm>
            <a:custGeom>
              <a:avLst/>
              <a:gdLst>
                <a:gd name="connsiteX0" fmla="*/ 56919 w 156306"/>
                <a:gd name="connsiteY0" fmla="*/ 24524 h 156240"/>
                <a:gd name="connsiteX1" fmla="*/ 25234 w 156306"/>
                <a:gd name="connsiteY1" fmla="*/ 55286 h 156240"/>
                <a:gd name="connsiteX2" fmla="*/ 55296 w 156306"/>
                <a:gd name="connsiteY2" fmla="*/ 130967 h 156240"/>
                <a:gd name="connsiteX3" fmla="*/ 131073 w 156306"/>
                <a:gd name="connsiteY3" fmla="*/ 100905 h 156240"/>
                <a:gd name="connsiteX4" fmla="*/ 100947 w 156306"/>
                <a:gd name="connsiteY4" fmla="*/ 25160 h 156240"/>
                <a:gd name="connsiteX5" fmla="*/ 56919 w 156306"/>
                <a:gd name="connsiteY5" fmla="*/ 24524 h 156240"/>
                <a:gd name="connsiteX6" fmla="*/ 49316 w 156306"/>
                <a:gd name="connsiteY6" fmla="*/ 5533 h 156240"/>
                <a:gd name="connsiteX7" fmla="*/ 109122 w 156306"/>
                <a:gd name="connsiteY7" fmla="*/ 6328 h 156240"/>
                <a:gd name="connsiteX8" fmla="*/ 149937 w 156306"/>
                <a:gd name="connsiteY8" fmla="*/ 109047 h 156240"/>
                <a:gd name="connsiteX9" fmla="*/ 47153 w 156306"/>
                <a:gd name="connsiteY9" fmla="*/ 149862 h 156240"/>
                <a:gd name="connsiteX10" fmla="*/ 6402 w 156306"/>
                <a:gd name="connsiteY10" fmla="*/ 47110 h 156240"/>
                <a:gd name="connsiteX11" fmla="*/ 49316 w 156306"/>
                <a:gd name="connsiteY11" fmla="*/ 5532 h 156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6306" h="156240">
                  <a:moveTo>
                    <a:pt x="56919" y="24524"/>
                  </a:moveTo>
                  <a:cubicBezTo>
                    <a:pt x="43208" y="29964"/>
                    <a:pt x="31564" y="40653"/>
                    <a:pt x="25234" y="55286"/>
                  </a:cubicBezTo>
                  <a:cubicBezTo>
                    <a:pt x="12573" y="84553"/>
                    <a:pt x="25997" y="118337"/>
                    <a:pt x="55296" y="130967"/>
                  </a:cubicBezTo>
                  <a:cubicBezTo>
                    <a:pt x="84691" y="143628"/>
                    <a:pt x="118380" y="130299"/>
                    <a:pt x="131073" y="100905"/>
                  </a:cubicBezTo>
                  <a:cubicBezTo>
                    <a:pt x="143702" y="71605"/>
                    <a:pt x="130405" y="37853"/>
                    <a:pt x="100947" y="25160"/>
                  </a:cubicBezTo>
                  <a:cubicBezTo>
                    <a:pt x="86313" y="18862"/>
                    <a:pt x="70566" y="19116"/>
                    <a:pt x="56919" y="24524"/>
                  </a:cubicBezTo>
                  <a:close/>
                  <a:moveTo>
                    <a:pt x="49316" y="5533"/>
                  </a:moveTo>
                  <a:cubicBezTo>
                    <a:pt x="67926" y="-1816"/>
                    <a:pt x="89367" y="-2134"/>
                    <a:pt x="109122" y="6328"/>
                  </a:cubicBezTo>
                  <a:cubicBezTo>
                    <a:pt x="148697" y="23380"/>
                    <a:pt x="166957" y="69570"/>
                    <a:pt x="149937" y="109047"/>
                  </a:cubicBezTo>
                  <a:cubicBezTo>
                    <a:pt x="132822" y="148589"/>
                    <a:pt x="86695" y="166913"/>
                    <a:pt x="47153" y="149862"/>
                  </a:cubicBezTo>
                  <a:cubicBezTo>
                    <a:pt x="7611" y="132842"/>
                    <a:pt x="-10681" y="86620"/>
                    <a:pt x="6402" y="47110"/>
                  </a:cubicBezTo>
                  <a:cubicBezTo>
                    <a:pt x="14928" y="27418"/>
                    <a:pt x="30739" y="12913"/>
                    <a:pt x="49316" y="5532"/>
                  </a:cubicBezTo>
                  <a:close/>
                </a:path>
              </a:pathLst>
            </a:custGeom>
            <a:solidFill>
              <a:schemeClr val="accent2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1071" name="Freeform: Shape 1070">
              <a:extLst>
                <a:ext uri="{FF2B5EF4-FFF2-40B4-BE49-F238E27FC236}">
                  <a16:creationId xmlns:a16="http://schemas.microsoft.com/office/drawing/2014/main" id="{EA2CE3D3-018E-9BA2-D622-B70C72852889}"/>
                </a:ext>
              </a:extLst>
            </p:cNvPr>
            <p:cNvSpPr/>
            <p:nvPr/>
          </p:nvSpPr>
          <p:spPr>
            <a:xfrm>
              <a:off x="4669930" y="1970958"/>
              <a:ext cx="141578" cy="413608"/>
            </a:xfrm>
            <a:custGeom>
              <a:avLst/>
              <a:gdLst>
                <a:gd name="connsiteX0" fmla="*/ 131398 w 141578"/>
                <a:gd name="connsiteY0" fmla="*/ 5 h 413608"/>
                <a:gd name="connsiteX1" fmla="*/ 141578 w 141578"/>
                <a:gd name="connsiteY1" fmla="*/ 10375 h 413608"/>
                <a:gd name="connsiteX2" fmla="*/ 141578 w 141578"/>
                <a:gd name="connsiteY2" fmla="*/ 156395 h 413608"/>
                <a:gd name="connsiteX3" fmla="*/ 133624 w 141578"/>
                <a:gd name="connsiteY3" fmla="*/ 211811 h 413608"/>
                <a:gd name="connsiteX4" fmla="*/ 89851 w 141578"/>
                <a:gd name="connsiteY4" fmla="*/ 249381 h 413608"/>
                <a:gd name="connsiteX5" fmla="*/ 83330 w 141578"/>
                <a:gd name="connsiteY5" fmla="*/ 251704 h 413608"/>
                <a:gd name="connsiteX6" fmla="*/ 83330 w 141578"/>
                <a:gd name="connsiteY6" fmla="*/ 361996 h 413608"/>
                <a:gd name="connsiteX7" fmla="*/ 139860 w 141578"/>
                <a:gd name="connsiteY7" fmla="*/ 397816 h 413608"/>
                <a:gd name="connsiteX8" fmla="*/ 136520 w 141578"/>
                <a:gd name="connsiteY8" fmla="*/ 411973 h 413608"/>
                <a:gd name="connsiteX9" fmla="*/ 122363 w 141578"/>
                <a:gd name="connsiteY9" fmla="*/ 408569 h 413608"/>
                <a:gd name="connsiteX10" fmla="*/ 72959 w 141578"/>
                <a:gd name="connsiteY10" fmla="*/ 381847 h 413608"/>
                <a:gd name="connsiteX11" fmla="*/ 23714 w 141578"/>
                <a:gd name="connsiteY11" fmla="*/ 408569 h 413608"/>
                <a:gd name="connsiteX12" fmla="*/ 6186 w 141578"/>
                <a:gd name="connsiteY12" fmla="*/ 397816 h 413608"/>
                <a:gd name="connsiteX13" fmla="*/ 62779 w 141578"/>
                <a:gd name="connsiteY13" fmla="*/ 361996 h 413608"/>
                <a:gd name="connsiteX14" fmla="*/ 62811 w 141578"/>
                <a:gd name="connsiteY14" fmla="*/ 259017 h 413608"/>
                <a:gd name="connsiteX15" fmla="*/ 13725 w 141578"/>
                <a:gd name="connsiteY15" fmla="*/ 276545 h 413608"/>
                <a:gd name="connsiteX16" fmla="*/ 587 w 141578"/>
                <a:gd name="connsiteY16" fmla="*/ 270342 h 413608"/>
                <a:gd name="connsiteX17" fmla="*/ 6854 w 141578"/>
                <a:gd name="connsiteY17" fmla="*/ 257204 h 413608"/>
                <a:gd name="connsiteX18" fmla="*/ 82980 w 141578"/>
                <a:gd name="connsiteY18" fmla="*/ 230068 h 413608"/>
                <a:gd name="connsiteX19" fmla="*/ 114728 w 141578"/>
                <a:gd name="connsiteY19" fmla="*/ 203632 h 413608"/>
                <a:gd name="connsiteX20" fmla="*/ 120964 w 141578"/>
                <a:gd name="connsiteY20" fmla="*/ 156391 h 413608"/>
                <a:gd name="connsiteX21" fmla="*/ 120964 w 141578"/>
                <a:gd name="connsiteY21" fmla="*/ 10372 h 413608"/>
                <a:gd name="connsiteX22" fmla="*/ 131398 w 141578"/>
                <a:gd name="connsiteY22" fmla="*/ 1 h 413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578" h="413608">
                  <a:moveTo>
                    <a:pt x="131398" y="5"/>
                  </a:moveTo>
                  <a:cubicBezTo>
                    <a:pt x="137060" y="36"/>
                    <a:pt x="141641" y="4681"/>
                    <a:pt x="141578" y="10375"/>
                  </a:cubicBezTo>
                  <a:lnTo>
                    <a:pt x="141578" y="156395"/>
                  </a:lnTo>
                  <a:cubicBezTo>
                    <a:pt x="141578" y="176945"/>
                    <a:pt x="140782" y="195428"/>
                    <a:pt x="133624" y="211811"/>
                  </a:cubicBezTo>
                  <a:cubicBezTo>
                    <a:pt x="126467" y="228258"/>
                    <a:pt x="112215" y="241396"/>
                    <a:pt x="89851" y="249381"/>
                  </a:cubicBezTo>
                  <a:lnTo>
                    <a:pt x="83330" y="251704"/>
                  </a:lnTo>
                  <a:lnTo>
                    <a:pt x="83330" y="361996"/>
                  </a:lnTo>
                  <a:cubicBezTo>
                    <a:pt x="106712" y="364954"/>
                    <a:pt x="127740" y="377934"/>
                    <a:pt x="139860" y="397816"/>
                  </a:cubicBezTo>
                  <a:cubicBezTo>
                    <a:pt x="142818" y="402651"/>
                    <a:pt x="141324" y="408983"/>
                    <a:pt x="136520" y="411973"/>
                  </a:cubicBezTo>
                  <a:cubicBezTo>
                    <a:pt x="131684" y="414931"/>
                    <a:pt x="125353" y="413436"/>
                    <a:pt x="122363" y="408569"/>
                  </a:cubicBezTo>
                  <a:cubicBezTo>
                    <a:pt x="112342" y="392249"/>
                    <a:pt x="93509" y="381847"/>
                    <a:pt x="72959" y="381847"/>
                  </a:cubicBezTo>
                  <a:cubicBezTo>
                    <a:pt x="52472" y="381847"/>
                    <a:pt x="33703" y="392249"/>
                    <a:pt x="23714" y="408569"/>
                  </a:cubicBezTo>
                  <a:cubicBezTo>
                    <a:pt x="16525" y="420244"/>
                    <a:pt x="-972" y="409523"/>
                    <a:pt x="6186" y="397816"/>
                  </a:cubicBezTo>
                  <a:cubicBezTo>
                    <a:pt x="18402" y="377934"/>
                    <a:pt x="39366" y="364954"/>
                    <a:pt x="62779" y="361996"/>
                  </a:cubicBezTo>
                  <a:lnTo>
                    <a:pt x="62811" y="259017"/>
                  </a:lnTo>
                  <a:lnTo>
                    <a:pt x="13725" y="276545"/>
                  </a:lnTo>
                  <a:cubicBezTo>
                    <a:pt x="8413" y="278486"/>
                    <a:pt x="2528" y="275654"/>
                    <a:pt x="587" y="270342"/>
                  </a:cubicBezTo>
                  <a:cubicBezTo>
                    <a:pt x="-1290" y="264966"/>
                    <a:pt x="1478" y="259081"/>
                    <a:pt x="6854" y="257204"/>
                  </a:cubicBezTo>
                  <a:lnTo>
                    <a:pt x="82980" y="230068"/>
                  </a:lnTo>
                  <a:cubicBezTo>
                    <a:pt x="101558" y="223420"/>
                    <a:pt x="109734" y="215117"/>
                    <a:pt x="114728" y="203632"/>
                  </a:cubicBezTo>
                  <a:cubicBezTo>
                    <a:pt x="119755" y="192116"/>
                    <a:pt x="120964" y="176306"/>
                    <a:pt x="120964" y="156391"/>
                  </a:cubicBezTo>
                  <a:lnTo>
                    <a:pt x="120964" y="10372"/>
                  </a:lnTo>
                  <a:cubicBezTo>
                    <a:pt x="120932" y="4582"/>
                    <a:pt x="125672" y="-95"/>
                    <a:pt x="131398" y="1"/>
                  </a:cubicBezTo>
                  <a:close/>
                </a:path>
              </a:pathLst>
            </a:custGeom>
            <a:solidFill>
              <a:schemeClr val="accent3"/>
            </a:solidFill>
            <a:ln w="80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grpSp>
        <p:nvGrpSpPr>
          <p:cNvPr id="1072" name="Group 1071">
            <a:extLst>
              <a:ext uri="{FF2B5EF4-FFF2-40B4-BE49-F238E27FC236}">
                <a16:creationId xmlns:a16="http://schemas.microsoft.com/office/drawing/2014/main" id="{C3D6B3D9-D56C-1284-9FDC-E475004E6315}"/>
              </a:ext>
            </a:extLst>
          </p:cNvPr>
          <p:cNvGrpSpPr/>
          <p:nvPr/>
        </p:nvGrpSpPr>
        <p:grpSpPr>
          <a:xfrm>
            <a:off x="6178797" y="2473977"/>
            <a:ext cx="2720046" cy="607770"/>
            <a:chOff x="5957301" y="2473977"/>
            <a:chExt cx="2528695" cy="607770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079608CE-391B-E3F0-8AFA-5CA607D2CC9C}"/>
                </a:ext>
              </a:extLst>
            </p:cNvPr>
            <p:cNvSpPr/>
            <p:nvPr/>
          </p:nvSpPr>
          <p:spPr>
            <a:xfrm>
              <a:off x="5957301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800" dirty="0">
                <a:solidFill>
                  <a:schemeClr val="accent2"/>
                </a:solidFill>
              </a:endParaRPr>
            </a:p>
          </p:txBody>
        </p:sp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6474A4A6-59B8-5AB9-BA68-899A76C9754B}"/>
                </a:ext>
              </a:extLst>
            </p:cNvPr>
            <p:cNvSpPr txBox="1">
              <a:spLocks/>
            </p:cNvSpPr>
            <p:nvPr/>
          </p:nvSpPr>
          <p:spPr>
            <a:xfrm>
              <a:off x="6038302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 dirty="0">
                  <a:solidFill>
                    <a:schemeClr val="accent2"/>
                  </a:solidFill>
                  <a:cs typeface="Arial" panose="020B0604020202020204" pitchFamily="34" charset="0"/>
                </a:rPr>
                <a:t>BELEVING-</a:t>
              </a:r>
            </a:p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 dirty="0">
                  <a:solidFill>
                    <a:schemeClr val="accent2"/>
                  </a:solidFill>
                  <a:cs typeface="Arial" panose="020B0604020202020204" pitchFamily="34" charset="0"/>
                </a:rPr>
                <a:t>INTERVIEWS</a:t>
              </a:r>
            </a:p>
          </p:txBody>
        </p:sp>
      </p:grpSp>
      <p:grpSp>
        <p:nvGrpSpPr>
          <p:cNvPr id="1075" name="Group 1074">
            <a:extLst>
              <a:ext uri="{FF2B5EF4-FFF2-40B4-BE49-F238E27FC236}">
                <a16:creationId xmlns:a16="http://schemas.microsoft.com/office/drawing/2014/main" id="{347C15E8-F0A7-9730-4360-BE2145D6E170}"/>
              </a:ext>
            </a:extLst>
          </p:cNvPr>
          <p:cNvGrpSpPr/>
          <p:nvPr/>
        </p:nvGrpSpPr>
        <p:grpSpPr>
          <a:xfrm>
            <a:off x="7295452" y="1567100"/>
            <a:ext cx="473896" cy="797570"/>
            <a:chOff x="9764701" y="1567100"/>
            <a:chExt cx="473896" cy="797570"/>
          </a:xfrm>
        </p:grpSpPr>
        <p:grpSp>
          <p:nvGrpSpPr>
            <p:cNvPr id="20" name="Graphic 18">
              <a:extLst>
                <a:ext uri="{FF2B5EF4-FFF2-40B4-BE49-F238E27FC236}">
                  <a16:creationId xmlns:a16="http://schemas.microsoft.com/office/drawing/2014/main" id="{4386E145-F455-B8D0-D0C6-86F584E5697C}"/>
                </a:ext>
              </a:extLst>
            </p:cNvPr>
            <p:cNvGrpSpPr/>
            <p:nvPr/>
          </p:nvGrpSpPr>
          <p:grpSpPr>
            <a:xfrm>
              <a:off x="9764701" y="1763999"/>
              <a:ext cx="422230" cy="600671"/>
              <a:chOff x="6257663" y="3176937"/>
              <a:chExt cx="2159461" cy="3072090"/>
            </a:xfrm>
            <a:solidFill>
              <a:schemeClr val="accent2"/>
            </a:solidFill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B0827C06-B29F-A24A-D921-20625A9D54E8}"/>
                  </a:ext>
                </a:extLst>
              </p:cNvPr>
              <p:cNvSpPr/>
              <p:nvPr/>
            </p:nvSpPr>
            <p:spPr>
              <a:xfrm>
                <a:off x="6257663" y="4003185"/>
                <a:ext cx="2159461" cy="2245842"/>
              </a:xfrm>
              <a:custGeom>
                <a:avLst/>
                <a:gdLst>
                  <a:gd name="connsiteX0" fmla="*/ 416846 w 2159461"/>
                  <a:gd name="connsiteY0" fmla="*/ 576548 h 2245842"/>
                  <a:gd name="connsiteX1" fmla="*/ 416401 w 2159461"/>
                  <a:gd name="connsiteY1" fmla="*/ 666144 h 2245842"/>
                  <a:gd name="connsiteX2" fmla="*/ 380533 w 2159461"/>
                  <a:gd name="connsiteY2" fmla="*/ 613608 h 2245842"/>
                  <a:gd name="connsiteX3" fmla="*/ 586212 w 2159461"/>
                  <a:gd name="connsiteY3" fmla="*/ 95993 h 2245842"/>
                  <a:gd name="connsiteX4" fmla="*/ 1094009 w 2159461"/>
                  <a:gd name="connsiteY4" fmla="*/ 95993 h 2245842"/>
                  <a:gd name="connsiteX5" fmla="*/ 1189259 w 2159461"/>
                  <a:gd name="connsiteY5" fmla="*/ 144064 h 2245842"/>
                  <a:gd name="connsiteX6" fmla="*/ 1464890 w 2159461"/>
                  <a:gd name="connsiteY6" fmla="*/ 432046 h 2245842"/>
                  <a:gd name="connsiteX7" fmla="*/ 1525762 w 2159461"/>
                  <a:gd name="connsiteY7" fmla="*/ 454072 h 2245842"/>
                  <a:gd name="connsiteX8" fmla="*/ 1572046 w 2159461"/>
                  <a:gd name="connsiteY8" fmla="*/ 436958 h 2245842"/>
                  <a:gd name="connsiteX9" fmla="*/ 1757635 w 2159461"/>
                  <a:gd name="connsiteY9" fmla="*/ 311048 h 2245842"/>
                  <a:gd name="connsiteX10" fmla="*/ 1836365 w 2159461"/>
                  <a:gd name="connsiteY10" fmla="*/ 295420 h 2245842"/>
                  <a:gd name="connsiteX11" fmla="*/ 2022400 w 2159461"/>
                  <a:gd name="connsiteY11" fmla="*/ 340961 h 2245842"/>
                  <a:gd name="connsiteX12" fmla="*/ 2023889 w 2159461"/>
                  <a:gd name="connsiteY12" fmla="*/ 403468 h 2245842"/>
                  <a:gd name="connsiteX13" fmla="*/ 1829815 w 2159461"/>
                  <a:gd name="connsiteY13" fmla="*/ 414928 h 2245842"/>
                  <a:gd name="connsiteX14" fmla="*/ 1803325 w 2159461"/>
                  <a:gd name="connsiteY14" fmla="*/ 424602 h 2245842"/>
                  <a:gd name="connsiteX15" fmla="*/ 1563264 w 2159461"/>
                  <a:gd name="connsiteY15" fmla="*/ 607364 h 2245842"/>
                  <a:gd name="connsiteX16" fmla="*/ 1467717 w 2159461"/>
                  <a:gd name="connsiteY16" fmla="*/ 613764 h 2245842"/>
                  <a:gd name="connsiteX17" fmla="*/ 1259356 w 2159461"/>
                  <a:gd name="connsiteY17" fmla="*/ 410467 h 2245842"/>
                  <a:gd name="connsiteX18" fmla="*/ 1177799 w 2159461"/>
                  <a:gd name="connsiteY18" fmla="*/ 444101 h 2245842"/>
                  <a:gd name="connsiteX19" fmla="*/ 1172438 w 2159461"/>
                  <a:gd name="connsiteY19" fmla="*/ 985693 h 2245842"/>
                  <a:gd name="connsiteX20" fmla="*/ 1181220 w 2159461"/>
                  <a:gd name="connsiteY20" fmla="*/ 1013971 h 2245842"/>
                  <a:gd name="connsiteX21" fmla="*/ 1840236 w 2159461"/>
                  <a:gd name="connsiteY21" fmla="*/ 1937438 h 2245842"/>
                  <a:gd name="connsiteX22" fmla="*/ 1864940 w 2159461"/>
                  <a:gd name="connsiteY22" fmla="*/ 2041025 h 2245842"/>
                  <a:gd name="connsiteX23" fmla="*/ 1809577 w 2159461"/>
                  <a:gd name="connsiteY23" fmla="*/ 2120798 h 2245842"/>
                  <a:gd name="connsiteX24" fmla="*/ 1716114 w 2159461"/>
                  <a:gd name="connsiteY24" fmla="*/ 2147141 h 2245842"/>
                  <a:gd name="connsiteX25" fmla="*/ 1626369 w 2159461"/>
                  <a:gd name="connsiteY25" fmla="*/ 2090139 h 2245842"/>
                  <a:gd name="connsiteX26" fmla="*/ 1174808 w 2159461"/>
                  <a:gd name="connsiteY26" fmla="*/ 1459699 h 2245842"/>
                  <a:gd name="connsiteX27" fmla="*/ 1174808 w 2159461"/>
                  <a:gd name="connsiteY27" fmla="*/ 1394662 h 2245842"/>
                  <a:gd name="connsiteX28" fmla="*/ 1165733 w 2159461"/>
                  <a:gd name="connsiteY28" fmla="*/ 1366681 h 2245842"/>
                  <a:gd name="connsiteX29" fmla="*/ 966748 w 2159461"/>
                  <a:gd name="connsiteY29" fmla="*/ 1102363 h 2245842"/>
                  <a:gd name="connsiteX30" fmla="*/ 910192 w 2159461"/>
                  <a:gd name="connsiteY30" fmla="*/ 1138680 h 2245842"/>
                  <a:gd name="connsiteX31" fmla="*/ 1078815 w 2159461"/>
                  <a:gd name="connsiteY31" fmla="*/ 1410138 h 2245842"/>
                  <a:gd name="connsiteX32" fmla="*/ 1078815 w 2159461"/>
                  <a:gd name="connsiteY32" fmla="*/ 2018256 h 2245842"/>
                  <a:gd name="connsiteX33" fmla="*/ 1038631 w 2159461"/>
                  <a:gd name="connsiteY33" fmla="*/ 2117076 h 2245842"/>
                  <a:gd name="connsiteX34" fmla="*/ 947103 w 2159461"/>
                  <a:gd name="connsiteY34" fmla="*/ 2149968 h 2245842"/>
                  <a:gd name="connsiteX35" fmla="*/ 855873 w 2159461"/>
                  <a:gd name="connsiteY35" fmla="*/ 2117076 h 2245842"/>
                  <a:gd name="connsiteX36" fmla="*/ 815986 w 2159461"/>
                  <a:gd name="connsiteY36" fmla="*/ 2018256 h 2245842"/>
                  <a:gd name="connsiteX37" fmla="*/ 816135 w 2159461"/>
                  <a:gd name="connsiteY37" fmla="*/ 1532481 h 2245842"/>
                  <a:gd name="connsiteX38" fmla="*/ 807055 w 2159461"/>
                  <a:gd name="connsiteY38" fmla="*/ 1504649 h 2245842"/>
                  <a:gd name="connsiteX39" fmla="*/ 558064 w 2159461"/>
                  <a:gd name="connsiteY39" fmla="*/ 1155200 h 2245842"/>
                  <a:gd name="connsiteX40" fmla="*/ 623101 w 2159461"/>
                  <a:gd name="connsiteY40" fmla="*/ 1060396 h 2245842"/>
                  <a:gd name="connsiteX41" fmla="*/ 595566 w 2159461"/>
                  <a:gd name="connsiteY41" fmla="*/ 927937 h 2245842"/>
                  <a:gd name="connsiteX42" fmla="*/ 511628 w 2159461"/>
                  <a:gd name="connsiteY42" fmla="*/ 805301 h 2245842"/>
                  <a:gd name="connsiteX43" fmla="*/ 513415 w 2159461"/>
                  <a:gd name="connsiteY43" fmla="*/ 458827 h 2245842"/>
                  <a:gd name="connsiteX44" fmla="*/ 430665 w 2159461"/>
                  <a:gd name="connsiteY44" fmla="*/ 424594 h 2245842"/>
                  <a:gd name="connsiteX45" fmla="*/ 304608 w 2159461"/>
                  <a:gd name="connsiteY45" fmla="*/ 554073 h 2245842"/>
                  <a:gd name="connsiteX46" fmla="*/ 294934 w 2159461"/>
                  <a:gd name="connsiteY46" fmla="*/ 658997 h 2245842"/>
                  <a:gd name="connsiteX47" fmla="*/ 516688 w 2159461"/>
                  <a:gd name="connsiteY47" fmla="*/ 981807 h 2245842"/>
                  <a:gd name="connsiteX48" fmla="*/ 530084 w 2159461"/>
                  <a:gd name="connsiteY48" fmla="*/ 1037318 h 2245842"/>
                  <a:gd name="connsiteX49" fmla="*/ 498529 w 2159461"/>
                  <a:gd name="connsiteY49" fmla="*/ 1079884 h 2245842"/>
                  <a:gd name="connsiteX50" fmla="*/ 447033 w 2159461"/>
                  <a:gd name="connsiteY50" fmla="*/ 1094023 h 2245842"/>
                  <a:gd name="connsiteX51" fmla="*/ 400448 w 2159461"/>
                  <a:gd name="connsiteY51" fmla="*/ 1061432 h 2245842"/>
                  <a:gd name="connsiteX52" fmla="*/ 107852 w 2159461"/>
                  <a:gd name="connsiteY52" fmla="*/ 634750 h 2245842"/>
                  <a:gd name="connsiteX53" fmla="*/ 115445 w 2159461"/>
                  <a:gd name="connsiteY53" fmla="*/ 545154 h 2245842"/>
                  <a:gd name="connsiteX54" fmla="*/ 505970 w 2159461"/>
                  <a:gd name="connsiteY54" fmla="*/ 144075 h 2245842"/>
                  <a:gd name="connsiteX55" fmla="*/ 586190 w 2159461"/>
                  <a:gd name="connsiteY55" fmla="*/ 96004 h 2245842"/>
                  <a:gd name="connsiteX56" fmla="*/ 586212 w 2159461"/>
                  <a:gd name="connsiteY56" fmla="*/ 0 h 2245842"/>
                  <a:gd name="connsiteX57" fmla="*/ 437683 w 2159461"/>
                  <a:gd name="connsiteY57" fmla="*/ 77389 h 2245842"/>
                  <a:gd name="connsiteX58" fmla="*/ 47158 w 2159461"/>
                  <a:gd name="connsiteY58" fmla="*/ 478048 h 2245842"/>
                  <a:gd name="connsiteX59" fmla="*/ 29297 w 2159461"/>
                  <a:gd name="connsiteY59" fmla="*/ 688639 h 2245842"/>
                  <a:gd name="connsiteX60" fmla="*/ 321897 w 2159461"/>
                  <a:gd name="connsiteY60" fmla="*/ 1115930 h 2245842"/>
                  <a:gd name="connsiteX61" fmla="*/ 435455 w 2159461"/>
                  <a:gd name="connsiteY61" fmla="*/ 1189452 h 2245842"/>
                  <a:gd name="connsiteX62" fmla="*/ 464475 w 2159461"/>
                  <a:gd name="connsiteY62" fmla="*/ 1190343 h 2245842"/>
                  <a:gd name="connsiteX63" fmla="*/ 720161 w 2159461"/>
                  <a:gd name="connsiteY63" fmla="*/ 1547976 h 2245842"/>
                  <a:gd name="connsiteX64" fmla="*/ 720161 w 2159461"/>
                  <a:gd name="connsiteY64" fmla="*/ 2018283 h 2245842"/>
                  <a:gd name="connsiteX65" fmla="*/ 792044 w 2159461"/>
                  <a:gd name="connsiteY65" fmla="*/ 2188990 h 2245842"/>
                  <a:gd name="connsiteX66" fmla="*/ 947271 w 2159461"/>
                  <a:gd name="connsiteY66" fmla="*/ 2245843 h 2245842"/>
                  <a:gd name="connsiteX67" fmla="*/ 1102646 w 2159461"/>
                  <a:gd name="connsiteY67" fmla="*/ 2188990 h 2245842"/>
                  <a:gd name="connsiteX68" fmla="*/ 1174678 w 2159461"/>
                  <a:gd name="connsiteY68" fmla="*/ 2018283 h 2245842"/>
                  <a:gd name="connsiteX69" fmla="*/ 1174678 w 2159461"/>
                  <a:gd name="connsiteY69" fmla="*/ 1624481 h 2245842"/>
                  <a:gd name="connsiteX70" fmla="*/ 1548386 w 2159461"/>
                  <a:gd name="connsiteY70" fmla="*/ 2145994 h 2245842"/>
                  <a:gd name="connsiteX71" fmla="*/ 1706292 w 2159461"/>
                  <a:gd name="connsiteY71" fmla="*/ 2242882 h 2245842"/>
                  <a:gd name="connsiteX72" fmla="*/ 1865538 w 2159461"/>
                  <a:gd name="connsiteY72" fmla="*/ 2198980 h 2245842"/>
                  <a:gd name="connsiteX73" fmla="*/ 1958853 w 2159461"/>
                  <a:gd name="connsiteY73" fmla="*/ 2062505 h 2245842"/>
                  <a:gd name="connsiteX74" fmla="*/ 1918520 w 2159461"/>
                  <a:gd name="connsiteY74" fmla="*/ 1881976 h 2245842"/>
                  <a:gd name="connsiteX75" fmla="*/ 1268724 w 2159461"/>
                  <a:gd name="connsiteY75" fmla="*/ 971158 h 2245842"/>
                  <a:gd name="connsiteX76" fmla="*/ 1272893 w 2159461"/>
                  <a:gd name="connsiteY76" fmla="*/ 557696 h 2245842"/>
                  <a:gd name="connsiteX77" fmla="*/ 1407134 w 2159461"/>
                  <a:gd name="connsiteY77" fmla="*/ 688665 h 2245842"/>
                  <a:gd name="connsiteX78" fmla="*/ 1624719 w 2159461"/>
                  <a:gd name="connsiteY78" fmla="*/ 681373 h 2245842"/>
                  <a:gd name="connsiteX79" fmla="*/ 1850046 w 2159461"/>
                  <a:gd name="connsiteY79" fmla="*/ 509774 h 2245842"/>
                  <a:gd name="connsiteX80" fmla="*/ 1993067 w 2159461"/>
                  <a:gd name="connsiteY80" fmla="*/ 501293 h 2245842"/>
                  <a:gd name="connsiteX81" fmla="*/ 2115855 w 2159461"/>
                  <a:gd name="connsiteY81" fmla="*/ 464976 h 2245842"/>
                  <a:gd name="connsiteX82" fmla="*/ 2159460 w 2159461"/>
                  <a:gd name="connsiteY82" fmla="*/ 377910 h 2245842"/>
                  <a:gd name="connsiteX83" fmla="*/ 2119128 w 2159461"/>
                  <a:gd name="connsiteY83" fmla="*/ 288166 h 2245842"/>
                  <a:gd name="connsiteX84" fmla="*/ 2006760 w 2159461"/>
                  <a:gd name="connsiteY84" fmla="*/ 236372 h 2245842"/>
                  <a:gd name="connsiteX85" fmla="*/ 1858082 w 2159461"/>
                  <a:gd name="connsiteY85" fmla="*/ 201995 h 2245842"/>
                  <a:gd name="connsiteX86" fmla="*/ 1703750 w 2159461"/>
                  <a:gd name="connsiteY86" fmla="*/ 231610 h 2245842"/>
                  <a:gd name="connsiteX87" fmla="*/ 1522924 w 2159461"/>
                  <a:gd name="connsiteY87" fmla="*/ 354246 h 2245842"/>
                  <a:gd name="connsiteX88" fmla="*/ 1258308 w 2159461"/>
                  <a:gd name="connsiteY88" fmla="*/ 77873 h 2245842"/>
                  <a:gd name="connsiteX89" fmla="*/ 1093556 w 2159461"/>
                  <a:gd name="connsiteY89" fmla="*/ 34 h 2245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</a:cxnLst>
                <a:rect l="l" t="t" r="r" b="b"/>
                <a:pathLst>
                  <a:path w="2159461" h="2245842">
                    <a:moveTo>
                      <a:pt x="416846" y="576548"/>
                    </a:moveTo>
                    <a:lnTo>
                      <a:pt x="416401" y="666144"/>
                    </a:lnTo>
                    <a:lnTo>
                      <a:pt x="380533" y="613608"/>
                    </a:lnTo>
                    <a:close/>
                    <a:moveTo>
                      <a:pt x="586212" y="95993"/>
                    </a:moveTo>
                    <a:lnTo>
                      <a:pt x="1094009" y="95993"/>
                    </a:lnTo>
                    <a:cubicBezTo>
                      <a:pt x="1146545" y="95993"/>
                      <a:pt x="1155773" y="109092"/>
                      <a:pt x="1189259" y="144064"/>
                    </a:cubicBezTo>
                    <a:lnTo>
                      <a:pt x="1464890" y="432046"/>
                    </a:lnTo>
                    <a:cubicBezTo>
                      <a:pt x="1481707" y="449458"/>
                      <a:pt x="1507009" y="455859"/>
                      <a:pt x="1525762" y="454072"/>
                    </a:cubicBezTo>
                    <a:cubicBezTo>
                      <a:pt x="1544664" y="452285"/>
                      <a:pt x="1559546" y="445442"/>
                      <a:pt x="1572046" y="436958"/>
                    </a:cubicBezTo>
                    <a:lnTo>
                      <a:pt x="1757635" y="311048"/>
                    </a:lnTo>
                    <a:cubicBezTo>
                      <a:pt x="1785018" y="292593"/>
                      <a:pt x="1800795" y="287236"/>
                      <a:pt x="1836365" y="295420"/>
                    </a:cubicBezTo>
                    <a:lnTo>
                      <a:pt x="2022400" y="340961"/>
                    </a:lnTo>
                    <a:cubicBezTo>
                      <a:pt x="2083718" y="355995"/>
                      <a:pt x="2058118" y="401384"/>
                      <a:pt x="2023889" y="403468"/>
                    </a:cubicBezTo>
                    <a:lnTo>
                      <a:pt x="1829815" y="414928"/>
                    </a:lnTo>
                    <a:cubicBezTo>
                      <a:pt x="1820290" y="415374"/>
                      <a:pt x="1811063" y="418650"/>
                      <a:pt x="1803325" y="424602"/>
                    </a:cubicBezTo>
                    <a:lnTo>
                      <a:pt x="1563264" y="607364"/>
                    </a:lnTo>
                    <a:cubicBezTo>
                      <a:pt x="1526650" y="635196"/>
                      <a:pt x="1489743" y="635344"/>
                      <a:pt x="1467717" y="613764"/>
                    </a:cubicBezTo>
                    <a:lnTo>
                      <a:pt x="1259356" y="410467"/>
                    </a:lnTo>
                    <a:cubicBezTo>
                      <a:pt x="1229142" y="380851"/>
                      <a:pt x="1178245" y="401833"/>
                      <a:pt x="1177799" y="444101"/>
                    </a:cubicBezTo>
                    <a:lnTo>
                      <a:pt x="1172438" y="985693"/>
                    </a:lnTo>
                    <a:cubicBezTo>
                      <a:pt x="1172290" y="995812"/>
                      <a:pt x="1175265" y="1005486"/>
                      <a:pt x="1181220" y="1013971"/>
                    </a:cubicBezTo>
                    <a:lnTo>
                      <a:pt x="1840236" y="1937438"/>
                    </a:lnTo>
                    <a:cubicBezTo>
                      <a:pt x="1868068" y="1976430"/>
                      <a:pt x="1872084" y="2010217"/>
                      <a:pt x="1864940" y="2041025"/>
                    </a:cubicBezTo>
                    <a:cubicBezTo>
                      <a:pt x="1857796" y="2071981"/>
                      <a:pt x="1837409" y="2101002"/>
                      <a:pt x="1809577" y="2120798"/>
                    </a:cubicBezTo>
                    <a:cubicBezTo>
                      <a:pt x="1781749" y="2140595"/>
                      <a:pt x="1747664" y="2150562"/>
                      <a:pt x="1716114" y="2147141"/>
                    </a:cubicBezTo>
                    <a:cubicBezTo>
                      <a:pt x="1684563" y="2143868"/>
                      <a:pt x="1654201" y="2129131"/>
                      <a:pt x="1626369" y="2090139"/>
                    </a:cubicBezTo>
                    <a:lnTo>
                      <a:pt x="1174808" y="1459699"/>
                    </a:lnTo>
                    <a:lnTo>
                      <a:pt x="1174808" y="1394662"/>
                    </a:lnTo>
                    <a:cubicBezTo>
                      <a:pt x="1174808" y="1384543"/>
                      <a:pt x="1171535" y="1374869"/>
                      <a:pt x="1165733" y="1366681"/>
                    </a:cubicBezTo>
                    <a:lnTo>
                      <a:pt x="966748" y="1102363"/>
                    </a:lnTo>
                    <a:cubicBezTo>
                      <a:pt x="928648" y="1051465"/>
                      <a:pt x="884444" y="1097749"/>
                      <a:pt x="910192" y="1138680"/>
                    </a:cubicBezTo>
                    <a:lnTo>
                      <a:pt x="1078815" y="1410138"/>
                    </a:lnTo>
                    <a:lnTo>
                      <a:pt x="1078815" y="2018256"/>
                    </a:lnTo>
                    <a:cubicBezTo>
                      <a:pt x="1078815" y="2066174"/>
                      <a:pt x="1062443" y="2095794"/>
                      <a:pt x="1038631" y="2117076"/>
                    </a:cubicBezTo>
                    <a:cubicBezTo>
                      <a:pt x="1015116" y="2138210"/>
                      <a:pt x="981332" y="2149968"/>
                      <a:pt x="947103" y="2149968"/>
                    </a:cubicBezTo>
                    <a:cubicBezTo>
                      <a:pt x="912870" y="2149968"/>
                      <a:pt x="879537" y="2138210"/>
                      <a:pt x="855873" y="2117076"/>
                    </a:cubicBezTo>
                    <a:cubicBezTo>
                      <a:pt x="832358" y="2095946"/>
                      <a:pt x="815986" y="2066178"/>
                      <a:pt x="815986" y="2018256"/>
                    </a:cubicBezTo>
                    <a:lnTo>
                      <a:pt x="816135" y="1532481"/>
                    </a:lnTo>
                    <a:cubicBezTo>
                      <a:pt x="816135" y="1522507"/>
                      <a:pt x="812858" y="1512833"/>
                      <a:pt x="807055" y="1504649"/>
                    </a:cubicBezTo>
                    <a:lnTo>
                      <a:pt x="558064" y="1155200"/>
                    </a:lnTo>
                    <a:cubicBezTo>
                      <a:pt x="589318" y="1131982"/>
                      <a:pt x="613576" y="1098941"/>
                      <a:pt x="623101" y="1060396"/>
                    </a:cubicBezTo>
                    <a:cubicBezTo>
                      <a:pt x="632923" y="1020509"/>
                      <a:pt x="625928" y="971992"/>
                      <a:pt x="595566" y="927937"/>
                    </a:cubicBezTo>
                    <a:lnTo>
                      <a:pt x="511628" y="805301"/>
                    </a:lnTo>
                    <a:lnTo>
                      <a:pt x="513415" y="458827"/>
                    </a:lnTo>
                    <a:cubicBezTo>
                      <a:pt x="513861" y="415221"/>
                      <a:pt x="461027" y="393341"/>
                      <a:pt x="430665" y="424594"/>
                    </a:cubicBezTo>
                    <a:lnTo>
                      <a:pt x="304608" y="554073"/>
                    </a:lnTo>
                    <a:cubicBezTo>
                      <a:pt x="277073" y="582054"/>
                      <a:pt x="272611" y="626551"/>
                      <a:pt x="294934" y="658997"/>
                    </a:cubicBezTo>
                    <a:lnTo>
                      <a:pt x="516688" y="981807"/>
                    </a:lnTo>
                    <a:cubicBezTo>
                      <a:pt x="530084" y="1001603"/>
                      <a:pt x="533654" y="1020798"/>
                      <a:pt x="530084" y="1037318"/>
                    </a:cubicBezTo>
                    <a:cubicBezTo>
                      <a:pt x="526807" y="1052353"/>
                      <a:pt x="514901" y="1068576"/>
                      <a:pt x="498529" y="1079884"/>
                    </a:cubicBezTo>
                    <a:cubicBezTo>
                      <a:pt x="482459" y="1090898"/>
                      <a:pt x="462365" y="1095809"/>
                      <a:pt x="447033" y="1094023"/>
                    </a:cubicBezTo>
                    <a:cubicBezTo>
                      <a:pt x="430513" y="1091790"/>
                      <a:pt x="418458" y="1087477"/>
                      <a:pt x="400448" y="1061432"/>
                    </a:cubicBezTo>
                    <a:lnTo>
                      <a:pt x="107852" y="634750"/>
                    </a:lnTo>
                    <a:cubicBezTo>
                      <a:pt x="83593" y="599031"/>
                      <a:pt x="95351" y="565991"/>
                      <a:pt x="115445" y="545154"/>
                    </a:cubicBezTo>
                    <a:lnTo>
                      <a:pt x="505970" y="144075"/>
                    </a:lnTo>
                    <a:cubicBezTo>
                      <a:pt x="536328" y="113565"/>
                      <a:pt x="548833" y="96004"/>
                      <a:pt x="586190" y="96004"/>
                    </a:cubicBezTo>
                    <a:close/>
                    <a:moveTo>
                      <a:pt x="586212" y="0"/>
                    </a:moveTo>
                    <a:cubicBezTo>
                      <a:pt x="510755" y="0"/>
                      <a:pt x="464917" y="49560"/>
                      <a:pt x="437683" y="77389"/>
                    </a:cubicBezTo>
                    <a:lnTo>
                      <a:pt x="47158" y="478048"/>
                    </a:lnTo>
                    <a:cubicBezTo>
                      <a:pt x="-11779" y="538471"/>
                      <a:pt x="-12819" y="627324"/>
                      <a:pt x="29297" y="688639"/>
                    </a:cubicBezTo>
                    <a:lnTo>
                      <a:pt x="321897" y="1115930"/>
                    </a:lnTo>
                    <a:cubicBezTo>
                      <a:pt x="352107" y="1159833"/>
                      <a:pt x="394821" y="1184243"/>
                      <a:pt x="435455" y="1189452"/>
                    </a:cubicBezTo>
                    <a:cubicBezTo>
                      <a:pt x="444233" y="1190492"/>
                      <a:pt x="455693" y="1190492"/>
                      <a:pt x="464475" y="1190343"/>
                    </a:cubicBezTo>
                    <a:lnTo>
                      <a:pt x="720161" y="1547976"/>
                    </a:lnTo>
                    <a:lnTo>
                      <a:pt x="720161" y="2018283"/>
                    </a:lnTo>
                    <a:cubicBezTo>
                      <a:pt x="720161" y="2090166"/>
                      <a:pt x="748438" y="2150143"/>
                      <a:pt x="792044" y="2188990"/>
                    </a:cubicBezTo>
                    <a:cubicBezTo>
                      <a:pt x="835501" y="2227833"/>
                      <a:pt x="891611" y="2245843"/>
                      <a:pt x="947271" y="2245843"/>
                    </a:cubicBezTo>
                    <a:cubicBezTo>
                      <a:pt x="1002783" y="2245843"/>
                      <a:pt x="1059041" y="2227837"/>
                      <a:pt x="1102646" y="2188990"/>
                    </a:cubicBezTo>
                    <a:cubicBezTo>
                      <a:pt x="1146103" y="2150147"/>
                      <a:pt x="1174678" y="2090166"/>
                      <a:pt x="1174678" y="2018283"/>
                    </a:cubicBezTo>
                    <a:lnTo>
                      <a:pt x="1174678" y="1624481"/>
                    </a:lnTo>
                    <a:lnTo>
                      <a:pt x="1548386" y="2145994"/>
                    </a:lnTo>
                    <a:cubicBezTo>
                      <a:pt x="1590060" y="2204485"/>
                      <a:pt x="1648250" y="2236630"/>
                      <a:pt x="1706292" y="2242882"/>
                    </a:cubicBezTo>
                    <a:cubicBezTo>
                      <a:pt x="1764036" y="2248986"/>
                      <a:pt x="1820443" y="2231426"/>
                      <a:pt x="1865538" y="2198980"/>
                    </a:cubicBezTo>
                    <a:cubicBezTo>
                      <a:pt x="1910782" y="2166835"/>
                      <a:pt x="1945757" y="2119206"/>
                      <a:pt x="1958853" y="2062505"/>
                    </a:cubicBezTo>
                    <a:cubicBezTo>
                      <a:pt x="1971799" y="2005653"/>
                      <a:pt x="1960190" y="1940319"/>
                      <a:pt x="1918520" y="1881976"/>
                    </a:cubicBezTo>
                    <a:lnTo>
                      <a:pt x="1268724" y="971158"/>
                    </a:lnTo>
                    <a:lnTo>
                      <a:pt x="1272893" y="557696"/>
                    </a:lnTo>
                    <a:lnTo>
                      <a:pt x="1407134" y="688665"/>
                    </a:lnTo>
                    <a:cubicBezTo>
                      <a:pt x="1466513" y="746261"/>
                      <a:pt x="1559088" y="731231"/>
                      <a:pt x="1624719" y="681373"/>
                    </a:cubicBezTo>
                    <a:lnTo>
                      <a:pt x="1850046" y="509774"/>
                    </a:lnTo>
                    <a:lnTo>
                      <a:pt x="1993067" y="501293"/>
                    </a:lnTo>
                    <a:cubicBezTo>
                      <a:pt x="2046201" y="501293"/>
                      <a:pt x="2087280" y="487600"/>
                      <a:pt x="2115855" y="464976"/>
                    </a:cubicBezTo>
                    <a:cubicBezTo>
                      <a:pt x="2143089" y="443099"/>
                      <a:pt x="2159312" y="409167"/>
                      <a:pt x="2159460" y="377910"/>
                    </a:cubicBezTo>
                    <a:cubicBezTo>
                      <a:pt x="2159609" y="347106"/>
                      <a:pt x="2146065" y="312424"/>
                      <a:pt x="2119128" y="288166"/>
                    </a:cubicBezTo>
                    <a:cubicBezTo>
                      <a:pt x="2092485" y="263907"/>
                      <a:pt x="2055577" y="247536"/>
                      <a:pt x="2006760" y="236372"/>
                    </a:cubicBezTo>
                    <a:lnTo>
                      <a:pt x="1858082" y="201995"/>
                    </a:lnTo>
                    <a:cubicBezTo>
                      <a:pt x="1799149" y="188302"/>
                      <a:pt x="1744974" y="203633"/>
                      <a:pt x="1703750" y="231610"/>
                    </a:cubicBezTo>
                    <a:lnTo>
                      <a:pt x="1522924" y="354246"/>
                    </a:lnTo>
                    <a:lnTo>
                      <a:pt x="1258308" y="77873"/>
                    </a:lnTo>
                    <a:cubicBezTo>
                      <a:pt x="1222140" y="39925"/>
                      <a:pt x="1172137" y="34"/>
                      <a:pt x="1093556" y="3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CDAFB8D-C4C9-EE0F-2099-8647F7A044EF}"/>
                  </a:ext>
                </a:extLst>
              </p:cNvPr>
              <p:cNvSpPr/>
              <p:nvPr/>
            </p:nvSpPr>
            <p:spPr>
              <a:xfrm>
                <a:off x="6712107" y="3176937"/>
                <a:ext cx="766018" cy="766144"/>
              </a:xfrm>
              <a:custGeom>
                <a:avLst/>
                <a:gdLst>
                  <a:gd name="connsiteX0" fmla="*/ 276994 w 766018"/>
                  <a:gd name="connsiteY0" fmla="*/ 115893 h 766144"/>
                  <a:gd name="connsiteX1" fmla="*/ 496515 w 766018"/>
                  <a:gd name="connsiteY1" fmla="*/ 119463 h 766144"/>
                  <a:gd name="connsiteX2" fmla="*/ 646385 w 766018"/>
                  <a:gd name="connsiteY2" fmla="*/ 496889 h 766144"/>
                  <a:gd name="connsiteX3" fmla="*/ 268658 w 766018"/>
                  <a:gd name="connsiteY3" fmla="*/ 646611 h 766144"/>
                  <a:gd name="connsiteX4" fmla="*/ 119234 w 766018"/>
                  <a:gd name="connsiteY4" fmla="*/ 269337 h 766144"/>
                  <a:gd name="connsiteX5" fmla="*/ 276990 w 766018"/>
                  <a:gd name="connsiteY5" fmla="*/ 115897 h 766144"/>
                  <a:gd name="connsiteX6" fmla="*/ 241721 w 766018"/>
                  <a:gd name="connsiteY6" fmla="*/ 27192 h 766144"/>
                  <a:gd name="connsiteX7" fmla="*/ 31428 w 766018"/>
                  <a:gd name="connsiteY7" fmla="*/ 231088 h 766144"/>
                  <a:gd name="connsiteX8" fmla="*/ 230710 w 766018"/>
                  <a:gd name="connsiteY8" fmla="*/ 734884 h 766144"/>
                  <a:gd name="connsiteX9" fmla="*/ 734773 w 766018"/>
                  <a:gd name="connsiteY9" fmla="*/ 534414 h 766144"/>
                  <a:gd name="connsiteX10" fmla="*/ 534600 w 766018"/>
                  <a:gd name="connsiteY10" fmla="*/ 31075 h 766144"/>
                  <a:gd name="connsiteX11" fmla="*/ 241706 w 766018"/>
                  <a:gd name="connsiteY11" fmla="*/ 27204 h 766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66018" h="766144">
                    <a:moveTo>
                      <a:pt x="276994" y="115893"/>
                    </a:moveTo>
                    <a:cubicBezTo>
                      <a:pt x="345159" y="88808"/>
                      <a:pt x="423592" y="87912"/>
                      <a:pt x="496515" y="119463"/>
                    </a:cubicBezTo>
                    <a:cubicBezTo>
                      <a:pt x="643112" y="182568"/>
                      <a:pt x="709486" y="350741"/>
                      <a:pt x="646385" y="496889"/>
                    </a:cubicBezTo>
                    <a:cubicBezTo>
                      <a:pt x="583284" y="643342"/>
                      <a:pt x="415107" y="709716"/>
                      <a:pt x="268658" y="646611"/>
                    </a:cubicBezTo>
                    <a:cubicBezTo>
                      <a:pt x="122659" y="583810"/>
                      <a:pt x="56281" y="415035"/>
                      <a:pt x="119234" y="269337"/>
                    </a:cubicBezTo>
                    <a:cubicBezTo>
                      <a:pt x="151081" y="196112"/>
                      <a:pt x="208830" y="142978"/>
                      <a:pt x="276990" y="115897"/>
                    </a:cubicBezTo>
                    <a:close/>
                    <a:moveTo>
                      <a:pt x="241721" y="27192"/>
                    </a:moveTo>
                    <a:cubicBezTo>
                      <a:pt x="150342" y="63357"/>
                      <a:pt x="73247" y="134348"/>
                      <a:pt x="31428" y="231088"/>
                    </a:cubicBezTo>
                    <a:cubicBezTo>
                      <a:pt x="-52361" y="424712"/>
                      <a:pt x="37235" y="651369"/>
                      <a:pt x="230710" y="734884"/>
                    </a:cubicBezTo>
                    <a:cubicBezTo>
                      <a:pt x="424784" y="818525"/>
                      <a:pt x="651144" y="728484"/>
                      <a:pt x="734773" y="534414"/>
                    </a:cubicBezTo>
                    <a:cubicBezTo>
                      <a:pt x="818266" y="340938"/>
                      <a:pt x="728674" y="114552"/>
                      <a:pt x="534600" y="31075"/>
                    </a:cubicBezTo>
                    <a:cubicBezTo>
                      <a:pt x="437712" y="-10447"/>
                      <a:pt x="332788" y="-8961"/>
                      <a:pt x="241706" y="27204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11A70BEC-F081-A71F-5305-9C388F2A53DA}"/>
                  </a:ext>
                </a:extLst>
              </p:cNvPr>
              <p:cNvSpPr/>
              <p:nvPr/>
            </p:nvSpPr>
            <p:spPr>
              <a:xfrm>
                <a:off x="6674556" y="5349450"/>
                <a:ext cx="277260" cy="757141"/>
              </a:xfrm>
              <a:custGeom>
                <a:avLst/>
                <a:gdLst>
                  <a:gd name="connsiteX0" fmla="*/ 46093 w 277260"/>
                  <a:gd name="connsiteY0" fmla="*/ 18 h 757141"/>
                  <a:gd name="connsiteX1" fmla="*/ 9483 w 277260"/>
                  <a:gd name="connsiteY1" fmla="*/ 76515 h 757141"/>
                  <a:gd name="connsiteX2" fmla="*/ 101159 w 277260"/>
                  <a:gd name="connsiteY2" fmla="*/ 202870 h 757141"/>
                  <a:gd name="connsiteX3" fmla="*/ 7250 w 277260"/>
                  <a:gd name="connsiteY3" fmla="*/ 697141 h 757141"/>
                  <a:gd name="connsiteX4" fmla="*/ 44752 w 277260"/>
                  <a:gd name="connsiteY4" fmla="*/ 756226 h 757141"/>
                  <a:gd name="connsiteX5" fmla="*/ 101456 w 277260"/>
                  <a:gd name="connsiteY5" fmla="*/ 715300 h 757141"/>
                  <a:gd name="connsiteX6" fmla="*/ 130183 w 277260"/>
                  <a:gd name="connsiteY6" fmla="*/ 565281 h 757141"/>
                  <a:gd name="connsiteX7" fmla="*/ 227369 w 277260"/>
                  <a:gd name="connsiteY7" fmla="*/ 565281 h 757141"/>
                  <a:gd name="connsiteX8" fmla="*/ 227369 w 277260"/>
                  <a:gd name="connsiteY8" fmla="*/ 469436 h 757141"/>
                  <a:gd name="connsiteX9" fmla="*/ 148189 w 277260"/>
                  <a:gd name="connsiteY9" fmla="*/ 469436 h 757141"/>
                  <a:gd name="connsiteX10" fmla="*/ 199388 w 277260"/>
                  <a:gd name="connsiteY10" fmla="*/ 200207 h 757141"/>
                  <a:gd name="connsiteX11" fmla="*/ 190907 w 277260"/>
                  <a:gd name="connsiteY11" fmla="*/ 163299 h 757141"/>
                  <a:gd name="connsiteX12" fmla="*/ 87321 w 277260"/>
                  <a:gd name="connsiteY12" fmla="*/ 20275 h 757141"/>
                  <a:gd name="connsiteX13" fmla="*/ 46097 w 277260"/>
                  <a:gd name="connsiteY13" fmla="*/ 33 h 7571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7260" h="757141">
                    <a:moveTo>
                      <a:pt x="46093" y="18"/>
                    </a:moveTo>
                    <a:cubicBezTo>
                      <a:pt x="7696" y="1507"/>
                      <a:pt x="-13438" y="45559"/>
                      <a:pt x="9483" y="76515"/>
                    </a:cubicBezTo>
                    <a:lnTo>
                      <a:pt x="101159" y="202870"/>
                    </a:lnTo>
                    <a:lnTo>
                      <a:pt x="7250" y="697141"/>
                    </a:lnTo>
                    <a:cubicBezTo>
                      <a:pt x="403" y="723781"/>
                      <a:pt x="17666" y="751018"/>
                      <a:pt x="44752" y="756226"/>
                    </a:cubicBezTo>
                    <a:cubicBezTo>
                      <a:pt x="71841" y="761583"/>
                      <a:pt x="97882" y="742831"/>
                      <a:pt x="101456" y="715300"/>
                    </a:cubicBezTo>
                    <a:lnTo>
                      <a:pt x="130183" y="565281"/>
                    </a:lnTo>
                    <a:lnTo>
                      <a:pt x="227369" y="565281"/>
                    </a:lnTo>
                    <a:cubicBezTo>
                      <a:pt x="293891" y="567662"/>
                      <a:pt x="293891" y="466758"/>
                      <a:pt x="227369" y="469436"/>
                    </a:cubicBezTo>
                    <a:lnTo>
                      <a:pt x="148189" y="469436"/>
                    </a:lnTo>
                    <a:lnTo>
                      <a:pt x="199388" y="200207"/>
                    </a:lnTo>
                    <a:cubicBezTo>
                      <a:pt x="201621" y="187112"/>
                      <a:pt x="198645" y="174013"/>
                      <a:pt x="190907" y="163299"/>
                    </a:cubicBezTo>
                    <a:lnTo>
                      <a:pt x="87321" y="20275"/>
                    </a:lnTo>
                    <a:cubicBezTo>
                      <a:pt x="77944" y="6879"/>
                      <a:pt x="62316" y="-561"/>
                      <a:pt x="46097" y="3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FE9B2C68-F7AB-A142-1E00-D6011A853AB3}"/>
                </a:ext>
              </a:extLst>
            </p:cNvPr>
            <p:cNvGrpSpPr/>
            <p:nvPr/>
          </p:nvGrpSpPr>
          <p:grpSpPr>
            <a:xfrm>
              <a:off x="10007743" y="1567100"/>
              <a:ext cx="230854" cy="248769"/>
              <a:chOff x="8562537" y="1789241"/>
              <a:chExt cx="550323" cy="593032"/>
            </a:xfrm>
            <a:solidFill>
              <a:schemeClr val="accent3"/>
            </a:solidFill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A08E099-A7DD-E757-4A30-15C13AD921F1}"/>
                  </a:ext>
                </a:extLst>
              </p:cNvPr>
              <p:cNvSpPr/>
              <p:nvPr/>
            </p:nvSpPr>
            <p:spPr>
              <a:xfrm>
                <a:off x="8572410" y="1789241"/>
                <a:ext cx="540450" cy="418908"/>
              </a:xfrm>
              <a:custGeom>
                <a:avLst/>
                <a:gdLst>
                  <a:gd name="connsiteX0" fmla="*/ 140480 w 540450"/>
                  <a:gd name="connsiteY0" fmla="*/ 377641 h 418908"/>
                  <a:gd name="connsiteX1" fmla="*/ 143802 w 540450"/>
                  <a:gd name="connsiteY1" fmla="*/ 377641 h 418908"/>
                  <a:gd name="connsiteX2" fmla="*/ 282622 w 540450"/>
                  <a:gd name="connsiteY2" fmla="*/ 418888 h 418908"/>
                  <a:gd name="connsiteX3" fmla="*/ 384896 w 540450"/>
                  <a:gd name="connsiteY3" fmla="*/ 398188 h 418908"/>
                  <a:gd name="connsiteX4" fmla="*/ 524058 w 540450"/>
                  <a:gd name="connsiteY4" fmla="*/ 359005 h 418908"/>
                  <a:gd name="connsiteX5" fmla="*/ 498509 w 540450"/>
                  <a:gd name="connsiteY5" fmla="*/ 216705 h 418908"/>
                  <a:gd name="connsiteX6" fmla="*/ 505727 w 540450"/>
                  <a:gd name="connsiteY6" fmla="*/ 172327 h 418908"/>
                  <a:gd name="connsiteX7" fmla="*/ 469981 w 540450"/>
                  <a:gd name="connsiteY7" fmla="*/ 79296 h 418908"/>
                  <a:gd name="connsiteX8" fmla="*/ 381456 w 540450"/>
                  <a:gd name="connsiteY8" fmla="*/ 33505 h 418908"/>
                  <a:gd name="connsiteX9" fmla="*/ 284872 w 540450"/>
                  <a:gd name="connsiteY9" fmla="*/ 58138 h 418908"/>
                  <a:gd name="connsiteX10" fmla="*/ 164188 w 540450"/>
                  <a:gd name="connsiteY10" fmla="*/ 2991 h 418908"/>
                  <a:gd name="connsiteX11" fmla="*/ 81812 w 540450"/>
                  <a:gd name="connsiteY11" fmla="*/ 107025 h 418908"/>
                  <a:gd name="connsiteX12" fmla="*/ 81812 w 540450"/>
                  <a:gd name="connsiteY12" fmla="*/ 110157 h 418908"/>
                  <a:gd name="connsiteX13" fmla="*/ 3254 w 540450"/>
                  <a:gd name="connsiteY13" fmla="*/ 267543 h 418908"/>
                  <a:gd name="connsiteX14" fmla="*/ 140470 w 540450"/>
                  <a:gd name="connsiteY14" fmla="*/ 377648 h 418908"/>
                  <a:gd name="connsiteX15" fmla="*/ 95607 w 540450"/>
                  <a:gd name="connsiteY15" fmla="*/ 125509 h 418908"/>
                  <a:gd name="connsiteX16" fmla="*/ 101755 w 540450"/>
                  <a:gd name="connsiteY16" fmla="*/ 115733 h 418908"/>
                  <a:gd name="connsiteX17" fmla="*/ 101755 w 540450"/>
                  <a:gd name="connsiteY17" fmla="*/ 106949 h 418908"/>
                  <a:gd name="connsiteX18" fmla="*/ 101755 w 540450"/>
                  <a:gd name="connsiteY18" fmla="*/ 106911 h 418908"/>
                  <a:gd name="connsiteX19" fmla="*/ 174241 w 540450"/>
                  <a:gd name="connsiteY19" fmla="*/ 20371 h 418908"/>
                  <a:gd name="connsiteX20" fmla="*/ 272272 w 540450"/>
                  <a:gd name="connsiteY20" fmla="*/ 76435 h 418908"/>
                  <a:gd name="connsiteX21" fmla="*/ 279032 w 540450"/>
                  <a:gd name="connsiteY21" fmla="*/ 82468 h 418908"/>
                  <a:gd name="connsiteX22" fmla="*/ 287816 w 540450"/>
                  <a:gd name="connsiteY22" fmla="*/ 80444 h 418908"/>
                  <a:gd name="connsiteX23" fmla="*/ 416556 w 540450"/>
                  <a:gd name="connsiteY23" fmla="*/ 62724 h 418908"/>
                  <a:gd name="connsiteX24" fmla="*/ 486559 w 540450"/>
                  <a:gd name="connsiteY24" fmla="*/ 172253 h 418908"/>
                  <a:gd name="connsiteX25" fmla="*/ 478081 w 540450"/>
                  <a:gd name="connsiteY25" fmla="*/ 216707 h 418908"/>
                  <a:gd name="connsiteX26" fmla="*/ 481900 w 540450"/>
                  <a:gd name="connsiteY26" fmla="*/ 228545 h 418908"/>
                  <a:gd name="connsiteX27" fmla="*/ 510925 w 540450"/>
                  <a:gd name="connsiteY27" fmla="*/ 349689 h 418908"/>
                  <a:gd name="connsiteX28" fmla="*/ 389782 w 540450"/>
                  <a:gd name="connsiteY28" fmla="*/ 378714 h 418908"/>
                  <a:gd name="connsiteX29" fmla="*/ 380768 w 540450"/>
                  <a:gd name="connsiteY29" fmla="*/ 378714 h 418908"/>
                  <a:gd name="connsiteX30" fmla="*/ 283001 w 540450"/>
                  <a:gd name="connsiteY30" fmla="*/ 399642 h 418908"/>
                  <a:gd name="connsiteX31" fmla="*/ 152814 w 540450"/>
                  <a:gd name="connsiteY31" fmla="*/ 360535 h 418908"/>
                  <a:gd name="connsiteX32" fmla="*/ 147124 w 540450"/>
                  <a:gd name="connsiteY32" fmla="*/ 358664 h 418908"/>
                  <a:gd name="connsiteX33" fmla="*/ 141357 w 540450"/>
                  <a:gd name="connsiteY33" fmla="*/ 358664 h 418908"/>
                  <a:gd name="connsiteX34" fmla="*/ 23010 w 540450"/>
                  <a:gd name="connsiteY34" fmla="*/ 260897 h 418908"/>
                  <a:gd name="connsiteX35" fmla="*/ 96488 w 540450"/>
                  <a:gd name="connsiteY35" fmla="*/ 126085 h 41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40450" h="418908">
                    <a:moveTo>
                      <a:pt x="140480" y="377641"/>
                    </a:moveTo>
                    <a:lnTo>
                      <a:pt x="143802" y="377641"/>
                    </a:lnTo>
                    <a:cubicBezTo>
                      <a:pt x="184818" y="405139"/>
                      <a:pt x="233243" y="419537"/>
                      <a:pt x="282622" y="418888"/>
                    </a:cubicBezTo>
                    <a:cubicBezTo>
                      <a:pt x="317796" y="419078"/>
                      <a:pt x="352586" y="412014"/>
                      <a:pt x="384896" y="398188"/>
                    </a:cubicBezTo>
                    <a:cubicBezTo>
                      <a:pt x="434467" y="422897"/>
                      <a:pt x="494659" y="405941"/>
                      <a:pt x="524058" y="359005"/>
                    </a:cubicBezTo>
                    <a:cubicBezTo>
                      <a:pt x="553426" y="312069"/>
                      <a:pt x="542390" y="250503"/>
                      <a:pt x="498509" y="216705"/>
                    </a:cubicBezTo>
                    <a:cubicBezTo>
                      <a:pt x="503321" y="202422"/>
                      <a:pt x="505765" y="187413"/>
                      <a:pt x="505727" y="172327"/>
                    </a:cubicBezTo>
                    <a:cubicBezTo>
                      <a:pt x="505612" y="137994"/>
                      <a:pt x="492895" y="104883"/>
                      <a:pt x="469981" y="79296"/>
                    </a:cubicBezTo>
                    <a:cubicBezTo>
                      <a:pt x="447066" y="53708"/>
                      <a:pt x="415560" y="37400"/>
                      <a:pt x="381456" y="33505"/>
                    </a:cubicBezTo>
                    <a:cubicBezTo>
                      <a:pt x="347352" y="29610"/>
                      <a:pt x="312980" y="38394"/>
                      <a:pt x="284872" y="58138"/>
                    </a:cubicBezTo>
                    <a:cubicBezTo>
                      <a:pt x="262149" y="14181"/>
                      <a:pt x="212310" y="-8580"/>
                      <a:pt x="164188" y="2991"/>
                    </a:cubicBezTo>
                    <a:cubicBezTo>
                      <a:pt x="116066" y="14563"/>
                      <a:pt x="82041" y="57527"/>
                      <a:pt x="81812" y="107025"/>
                    </a:cubicBezTo>
                    <a:lnTo>
                      <a:pt x="81812" y="110157"/>
                    </a:lnTo>
                    <a:cubicBezTo>
                      <a:pt x="21853" y="137616"/>
                      <a:pt x="-10839" y="203150"/>
                      <a:pt x="3254" y="267543"/>
                    </a:cubicBezTo>
                    <a:cubicBezTo>
                      <a:pt x="17384" y="331969"/>
                      <a:pt x="74517" y="377795"/>
                      <a:pt x="140470" y="377648"/>
                    </a:cubicBezTo>
                    <a:close/>
                    <a:moveTo>
                      <a:pt x="95607" y="125509"/>
                    </a:moveTo>
                    <a:cubicBezTo>
                      <a:pt x="99578" y="123943"/>
                      <a:pt x="102061" y="119972"/>
                      <a:pt x="101755" y="115733"/>
                    </a:cubicBezTo>
                    <a:lnTo>
                      <a:pt x="101755" y="106949"/>
                    </a:lnTo>
                    <a:lnTo>
                      <a:pt x="101755" y="106911"/>
                    </a:lnTo>
                    <a:cubicBezTo>
                      <a:pt x="101793" y="64329"/>
                      <a:pt x="132307" y="27857"/>
                      <a:pt x="174241" y="20371"/>
                    </a:cubicBezTo>
                    <a:cubicBezTo>
                      <a:pt x="216212" y="12847"/>
                      <a:pt x="257496" y="36487"/>
                      <a:pt x="272272" y="76435"/>
                    </a:cubicBezTo>
                    <a:cubicBezTo>
                      <a:pt x="273380" y="79413"/>
                      <a:pt x="275900" y="81705"/>
                      <a:pt x="279032" y="82468"/>
                    </a:cubicBezTo>
                    <a:cubicBezTo>
                      <a:pt x="282087" y="83271"/>
                      <a:pt x="285410" y="82506"/>
                      <a:pt x="287816" y="80444"/>
                    </a:cubicBezTo>
                    <a:cubicBezTo>
                      <a:pt x="323601" y="49930"/>
                      <a:pt x="373859" y="43018"/>
                      <a:pt x="416556" y="62724"/>
                    </a:cubicBezTo>
                    <a:cubicBezTo>
                      <a:pt x="459291" y="82430"/>
                      <a:pt x="486598" y="125203"/>
                      <a:pt x="486559" y="172253"/>
                    </a:cubicBezTo>
                    <a:cubicBezTo>
                      <a:pt x="486636" y="187491"/>
                      <a:pt x="483733" y="202576"/>
                      <a:pt x="478081" y="216707"/>
                    </a:cubicBezTo>
                    <a:cubicBezTo>
                      <a:pt x="476362" y="221060"/>
                      <a:pt x="477928" y="226025"/>
                      <a:pt x="481900" y="228545"/>
                    </a:cubicBezTo>
                    <a:cubicBezTo>
                      <a:pt x="523337" y="253980"/>
                      <a:pt x="536359" y="308210"/>
                      <a:pt x="510925" y="349689"/>
                    </a:cubicBezTo>
                    <a:cubicBezTo>
                      <a:pt x="485490" y="391164"/>
                      <a:pt x="431260" y="404148"/>
                      <a:pt x="389782" y="378714"/>
                    </a:cubicBezTo>
                    <a:cubicBezTo>
                      <a:pt x="386955" y="377263"/>
                      <a:pt x="383595" y="377263"/>
                      <a:pt x="380768" y="378714"/>
                    </a:cubicBezTo>
                    <a:cubicBezTo>
                      <a:pt x="350064" y="392654"/>
                      <a:pt x="316723" y="399795"/>
                      <a:pt x="283001" y="399642"/>
                    </a:cubicBezTo>
                    <a:cubicBezTo>
                      <a:pt x="236600" y="400444"/>
                      <a:pt x="191077" y="386772"/>
                      <a:pt x="152814" y="360535"/>
                    </a:cubicBezTo>
                    <a:cubicBezTo>
                      <a:pt x="151134" y="359351"/>
                      <a:pt x="149148" y="358702"/>
                      <a:pt x="147124" y="358664"/>
                    </a:cubicBezTo>
                    <a:lnTo>
                      <a:pt x="141357" y="358664"/>
                    </a:lnTo>
                    <a:cubicBezTo>
                      <a:pt x="83574" y="358626"/>
                      <a:pt x="33969" y="317609"/>
                      <a:pt x="23010" y="260897"/>
                    </a:cubicBezTo>
                    <a:cubicBezTo>
                      <a:pt x="12087" y="204146"/>
                      <a:pt x="42868" y="147623"/>
                      <a:pt x="96488" y="126085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6B30D950-AC51-FC0E-F3BE-8AAC76287767}"/>
                  </a:ext>
                </a:extLst>
              </p:cNvPr>
              <p:cNvSpPr/>
              <p:nvPr/>
            </p:nvSpPr>
            <p:spPr>
              <a:xfrm>
                <a:off x="8562537" y="2307568"/>
                <a:ext cx="74692" cy="74705"/>
              </a:xfrm>
              <a:custGeom>
                <a:avLst/>
                <a:gdLst>
                  <a:gd name="connsiteX0" fmla="*/ 37236 w 74692"/>
                  <a:gd name="connsiteY0" fmla="*/ 74706 h 74705"/>
                  <a:gd name="connsiteX1" fmla="*/ 71798 w 74692"/>
                  <a:gd name="connsiteY1" fmla="*/ 51715 h 74705"/>
                  <a:gd name="connsiteX2" fmla="*/ 63779 w 74692"/>
                  <a:gd name="connsiteY2" fmla="*/ 10965 h 74705"/>
                  <a:gd name="connsiteX3" fmla="*/ 23067 w 74692"/>
                  <a:gd name="connsiteY3" fmla="*/ 2831 h 74705"/>
                  <a:gd name="connsiteX4" fmla="*/ 0 w 74692"/>
                  <a:gd name="connsiteY4" fmla="*/ 37355 h 74705"/>
                  <a:gd name="connsiteX5" fmla="*/ 37236 w 74692"/>
                  <a:gd name="connsiteY5" fmla="*/ 74705 h 74705"/>
                  <a:gd name="connsiteX6" fmla="*/ 37236 w 74692"/>
                  <a:gd name="connsiteY6" fmla="*/ 19673 h 74705"/>
                  <a:gd name="connsiteX7" fmla="*/ 37236 w 74692"/>
                  <a:gd name="connsiteY7" fmla="*/ 19635 h 74705"/>
                  <a:gd name="connsiteX8" fmla="*/ 53772 w 74692"/>
                  <a:gd name="connsiteY8" fmla="*/ 30596 h 74705"/>
                  <a:gd name="connsiteX9" fmla="*/ 49915 w 74692"/>
                  <a:gd name="connsiteY9" fmla="*/ 50035 h 74705"/>
                  <a:gd name="connsiteX10" fmla="*/ 30476 w 74692"/>
                  <a:gd name="connsiteY10" fmla="*/ 53854 h 74705"/>
                  <a:gd name="connsiteX11" fmla="*/ 19553 w 74692"/>
                  <a:gd name="connsiteY11" fmla="*/ 37356 h 74705"/>
                  <a:gd name="connsiteX12" fmla="*/ 37236 w 74692"/>
                  <a:gd name="connsiteY12" fmla="*/ 19635 h 747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692" h="74705">
                    <a:moveTo>
                      <a:pt x="37236" y="74706"/>
                    </a:moveTo>
                    <a:cubicBezTo>
                      <a:pt x="52359" y="74744"/>
                      <a:pt x="65993" y="65654"/>
                      <a:pt x="71798" y="51715"/>
                    </a:cubicBezTo>
                    <a:cubicBezTo>
                      <a:pt x="77642" y="37775"/>
                      <a:pt x="74471" y="21659"/>
                      <a:pt x="63779" y="10965"/>
                    </a:cubicBezTo>
                    <a:cubicBezTo>
                      <a:pt x="53124" y="271"/>
                      <a:pt x="37045" y="-2936"/>
                      <a:pt x="23067" y="2831"/>
                    </a:cubicBezTo>
                    <a:cubicBezTo>
                      <a:pt x="9089" y="8597"/>
                      <a:pt x="0" y="22232"/>
                      <a:pt x="0" y="37355"/>
                    </a:cubicBezTo>
                    <a:cubicBezTo>
                      <a:pt x="0" y="57939"/>
                      <a:pt x="16651" y="74628"/>
                      <a:pt x="37236" y="74705"/>
                    </a:cubicBezTo>
                    <a:close/>
                    <a:moveTo>
                      <a:pt x="37236" y="19673"/>
                    </a:moveTo>
                    <a:lnTo>
                      <a:pt x="37236" y="19635"/>
                    </a:lnTo>
                    <a:cubicBezTo>
                      <a:pt x="44454" y="19597"/>
                      <a:pt x="50984" y="23951"/>
                      <a:pt x="53772" y="30596"/>
                    </a:cubicBezTo>
                    <a:cubicBezTo>
                      <a:pt x="56521" y="37241"/>
                      <a:pt x="55032" y="44917"/>
                      <a:pt x="49915" y="50035"/>
                    </a:cubicBezTo>
                    <a:cubicBezTo>
                      <a:pt x="44835" y="55114"/>
                      <a:pt x="37121" y="56642"/>
                      <a:pt x="30476" y="53854"/>
                    </a:cubicBezTo>
                    <a:cubicBezTo>
                      <a:pt x="23831" y="51105"/>
                      <a:pt x="19515" y="44574"/>
                      <a:pt x="19553" y="37356"/>
                    </a:cubicBezTo>
                    <a:cubicBezTo>
                      <a:pt x="19553" y="27579"/>
                      <a:pt x="27459" y="19635"/>
                      <a:pt x="37236" y="19635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99648DE-6909-B2B0-907F-2424EF04B528}"/>
                  </a:ext>
                </a:extLst>
              </p:cNvPr>
              <p:cNvSpPr/>
              <p:nvPr/>
            </p:nvSpPr>
            <p:spPr>
              <a:xfrm>
                <a:off x="8643386" y="2208428"/>
                <a:ext cx="101278" cy="101294"/>
              </a:xfrm>
              <a:custGeom>
                <a:avLst/>
                <a:gdLst>
                  <a:gd name="connsiteX0" fmla="*/ 1 w 101278"/>
                  <a:gd name="connsiteY0" fmla="*/ 50640 h 101294"/>
                  <a:gd name="connsiteX1" fmla="*/ 31241 w 101278"/>
                  <a:gd name="connsiteY1" fmla="*/ 97423 h 101294"/>
                  <a:gd name="connsiteX2" fmla="*/ 86463 w 101278"/>
                  <a:gd name="connsiteY2" fmla="*/ 86462 h 101294"/>
                  <a:gd name="connsiteX3" fmla="*/ 97424 w 101278"/>
                  <a:gd name="connsiteY3" fmla="*/ 31278 h 101294"/>
                  <a:gd name="connsiteX4" fmla="*/ 50641 w 101278"/>
                  <a:gd name="connsiteY4" fmla="*/ 0 h 101294"/>
                  <a:gd name="connsiteX5" fmla="*/ 0 w 101278"/>
                  <a:gd name="connsiteY5" fmla="*/ 50641 h 101294"/>
                  <a:gd name="connsiteX6" fmla="*/ 81729 w 101278"/>
                  <a:gd name="connsiteY6" fmla="*/ 50640 h 101294"/>
                  <a:gd name="connsiteX7" fmla="*/ 62519 w 101278"/>
                  <a:gd name="connsiteY7" fmla="*/ 79359 h 101294"/>
                  <a:gd name="connsiteX8" fmla="*/ 28645 w 101278"/>
                  <a:gd name="connsiteY8" fmla="*/ 72637 h 101294"/>
                  <a:gd name="connsiteX9" fmla="*/ 21923 w 101278"/>
                  <a:gd name="connsiteY9" fmla="*/ 38763 h 101294"/>
                  <a:gd name="connsiteX10" fmla="*/ 50642 w 101278"/>
                  <a:gd name="connsiteY10" fmla="*/ 19553 h 101294"/>
                  <a:gd name="connsiteX11" fmla="*/ 81730 w 101278"/>
                  <a:gd name="connsiteY11" fmla="*/ 50641 h 101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278" h="101294">
                    <a:moveTo>
                      <a:pt x="1" y="50640"/>
                    </a:moveTo>
                    <a:cubicBezTo>
                      <a:pt x="1" y="71148"/>
                      <a:pt x="12336" y="89594"/>
                      <a:pt x="31241" y="97423"/>
                    </a:cubicBezTo>
                    <a:cubicBezTo>
                      <a:pt x="50183" y="105290"/>
                      <a:pt x="71952" y="100937"/>
                      <a:pt x="86463" y="86462"/>
                    </a:cubicBezTo>
                    <a:cubicBezTo>
                      <a:pt x="100938" y="71988"/>
                      <a:pt x="105253" y="50182"/>
                      <a:pt x="97424" y="31278"/>
                    </a:cubicBezTo>
                    <a:cubicBezTo>
                      <a:pt x="89595" y="12335"/>
                      <a:pt x="71111" y="0"/>
                      <a:pt x="50641" y="0"/>
                    </a:cubicBezTo>
                    <a:cubicBezTo>
                      <a:pt x="22685" y="38"/>
                      <a:pt x="38" y="22685"/>
                      <a:pt x="0" y="50641"/>
                    </a:cubicBezTo>
                    <a:close/>
                    <a:moveTo>
                      <a:pt x="81729" y="50640"/>
                    </a:moveTo>
                    <a:cubicBezTo>
                      <a:pt x="81729" y="63205"/>
                      <a:pt x="74167" y="74547"/>
                      <a:pt x="62519" y="79359"/>
                    </a:cubicBezTo>
                    <a:cubicBezTo>
                      <a:pt x="50909" y="84171"/>
                      <a:pt x="37543" y="81536"/>
                      <a:pt x="28645" y="72637"/>
                    </a:cubicBezTo>
                    <a:cubicBezTo>
                      <a:pt x="19746" y="63738"/>
                      <a:pt x="17111" y="50373"/>
                      <a:pt x="21923" y="38763"/>
                    </a:cubicBezTo>
                    <a:cubicBezTo>
                      <a:pt x="26735" y="27115"/>
                      <a:pt x="38077" y="19553"/>
                      <a:pt x="50642" y="19553"/>
                    </a:cubicBezTo>
                    <a:cubicBezTo>
                      <a:pt x="67790" y="19592"/>
                      <a:pt x="81691" y="33493"/>
                      <a:pt x="81730" y="50641"/>
                    </a:cubicBezTo>
                    <a:close/>
                  </a:path>
                </a:pathLst>
              </a:custGeom>
              <a:grpFill/>
              <a:ln w="971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 dirty="0"/>
              </a:p>
            </p:txBody>
          </p:sp>
        </p:grpSp>
      </p:grpSp>
      <p:grpSp>
        <p:nvGrpSpPr>
          <p:cNvPr id="1074" name="Group 1073">
            <a:extLst>
              <a:ext uri="{FF2B5EF4-FFF2-40B4-BE49-F238E27FC236}">
                <a16:creationId xmlns:a16="http://schemas.microsoft.com/office/drawing/2014/main" id="{0ECDF799-57BD-2620-BB99-503A7710AB76}"/>
              </a:ext>
            </a:extLst>
          </p:cNvPr>
          <p:cNvGrpSpPr/>
          <p:nvPr/>
        </p:nvGrpSpPr>
        <p:grpSpPr>
          <a:xfrm>
            <a:off x="409605" y="2473977"/>
            <a:ext cx="2720046" cy="607770"/>
            <a:chOff x="409606" y="2473977"/>
            <a:chExt cx="2528695" cy="607770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CEB4D74-C9AC-E9C0-F531-D5269404CFA4}"/>
                </a:ext>
              </a:extLst>
            </p:cNvPr>
            <p:cNvSpPr/>
            <p:nvPr/>
          </p:nvSpPr>
          <p:spPr>
            <a:xfrm>
              <a:off x="409606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800" dirty="0">
                <a:solidFill>
                  <a:schemeClr val="accent2"/>
                </a:solidFill>
              </a:endParaRPr>
            </a:p>
          </p:txBody>
        </p:sp>
        <p:sp>
          <p:nvSpPr>
            <p:cNvPr id="5" name="Content Placeholder 2">
              <a:extLst>
                <a:ext uri="{FF2B5EF4-FFF2-40B4-BE49-F238E27FC236}">
                  <a16:creationId xmlns:a16="http://schemas.microsoft.com/office/drawing/2014/main" id="{D3666790-0A71-414D-712B-69DF011EA716}"/>
                </a:ext>
              </a:extLst>
            </p:cNvPr>
            <p:cNvSpPr txBox="1">
              <a:spLocks/>
            </p:cNvSpPr>
            <p:nvPr/>
          </p:nvSpPr>
          <p:spPr>
            <a:xfrm>
              <a:off x="490607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 dirty="0">
                  <a:solidFill>
                    <a:schemeClr val="accent2"/>
                  </a:solidFill>
                  <a:cs typeface="Arial" panose="020B0604020202020204" pitchFamily="34" charset="0"/>
                </a:rPr>
                <a:t>1-OP-1 ONDERSTEUNING</a:t>
              </a:r>
            </a:p>
          </p:txBody>
        </p:sp>
      </p:grpSp>
      <p:grpSp>
        <p:nvGrpSpPr>
          <p:cNvPr id="1076" name="Group 1075">
            <a:extLst>
              <a:ext uri="{FF2B5EF4-FFF2-40B4-BE49-F238E27FC236}">
                <a16:creationId xmlns:a16="http://schemas.microsoft.com/office/drawing/2014/main" id="{273F6C60-8731-3DCF-C1F1-CC57DFFA2E95}"/>
              </a:ext>
            </a:extLst>
          </p:cNvPr>
          <p:cNvGrpSpPr/>
          <p:nvPr/>
        </p:nvGrpSpPr>
        <p:grpSpPr>
          <a:xfrm>
            <a:off x="1412194" y="1724968"/>
            <a:ext cx="814386" cy="678215"/>
            <a:chOff x="1328579" y="1758172"/>
            <a:chExt cx="814386" cy="678215"/>
          </a:xfrm>
        </p:grpSpPr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37F837A-A450-B9D5-E202-940A1683E469}"/>
                </a:ext>
              </a:extLst>
            </p:cNvPr>
            <p:cNvSpPr/>
            <p:nvPr/>
          </p:nvSpPr>
          <p:spPr>
            <a:xfrm>
              <a:off x="1449208" y="1758172"/>
              <a:ext cx="165434" cy="175305"/>
            </a:xfrm>
            <a:custGeom>
              <a:avLst/>
              <a:gdLst>
                <a:gd name="connsiteX0" fmla="*/ 331885 w 663473"/>
                <a:gd name="connsiteY0" fmla="*/ 96142 h 703063"/>
                <a:gd name="connsiteX1" fmla="*/ 567778 w 663473"/>
                <a:gd name="connsiteY1" fmla="*/ 300186 h 703063"/>
                <a:gd name="connsiteX2" fmla="*/ 567778 w 663473"/>
                <a:gd name="connsiteY2" fmla="*/ 403323 h 703063"/>
                <a:gd name="connsiteX3" fmla="*/ 331885 w 663473"/>
                <a:gd name="connsiteY3" fmla="*/ 607070 h 703063"/>
                <a:gd name="connsiteX4" fmla="*/ 95993 w 663473"/>
                <a:gd name="connsiteY4" fmla="*/ 403323 h 703063"/>
                <a:gd name="connsiteX5" fmla="*/ 95993 w 663473"/>
                <a:gd name="connsiteY5" fmla="*/ 300186 h 703063"/>
                <a:gd name="connsiteX6" fmla="*/ 331885 w 663473"/>
                <a:gd name="connsiteY6" fmla="*/ 96142 h 703063"/>
                <a:gd name="connsiteX7" fmla="*/ 331885 w 663473"/>
                <a:gd name="connsiteY7" fmla="*/ 0 h 703063"/>
                <a:gd name="connsiteX8" fmla="*/ 0 w 663473"/>
                <a:gd name="connsiteY8" fmla="*/ 300038 h 703063"/>
                <a:gd name="connsiteX9" fmla="*/ 0 w 663473"/>
                <a:gd name="connsiteY9" fmla="*/ 403174 h 703063"/>
                <a:gd name="connsiteX10" fmla="*/ 331885 w 663473"/>
                <a:gd name="connsiteY10" fmla="*/ 703063 h 703063"/>
                <a:gd name="connsiteX11" fmla="*/ 663473 w 663473"/>
                <a:gd name="connsiteY11" fmla="*/ 403174 h 703063"/>
                <a:gd name="connsiteX12" fmla="*/ 663473 w 663473"/>
                <a:gd name="connsiteY12" fmla="*/ 300038 h 703063"/>
                <a:gd name="connsiteX13" fmla="*/ 331885 w 663473"/>
                <a:gd name="connsiteY13" fmla="*/ 0 h 70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3473" h="703063">
                  <a:moveTo>
                    <a:pt x="331885" y="96142"/>
                  </a:moveTo>
                  <a:cubicBezTo>
                    <a:pt x="466424" y="96142"/>
                    <a:pt x="567778" y="189753"/>
                    <a:pt x="567778" y="300186"/>
                  </a:cubicBezTo>
                  <a:lnTo>
                    <a:pt x="567778" y="403323"/>
                  </a:lnTo>
                  <a:cubicBezTo>
                    <a:pt x="567778" y="513752"/>
                    <a:pt x="466275" y="607070"/>
                    <a:pt x="331885" y="607070"/>
                  </a:cubicBezTo>
                  <a:cubicBezTo>
                    <a:pt x="197347" y="607070"/>
                    <a:pt x="95993" y="513756"/>
                    <a:pt x="95993" y="403323"/>
                  </a:cubicBezTo>
                  <a:lnTo>
                    <a:pt x="95993" y="300186"/>
                  </a:lnTo>
                  <a:cubicBezTo>
                    <a:pt x="95993" y="189757"/>
                    <a:pt x="197347" y="96142"/>
                    <a:pt x="331885" y="96142"/>
                  </a:cubicBezTo>
                  <a:close/>
                  <a:moveTo>
                    <a:pt x="331885" y="0"/>
                  </a:moveTo>
                  <a:cubicBezTo>
                    <a:pt x="151950" y="0"/>
                    <a:pt x="0" y="131415"/>
                    <a:pt x="0" y="300038"/>
                  </a:cubicBezTo>
                  <a:lnTo>
                    <a:pt x="0" y="403174"/>
                  </a:lnTo>
                  <a:cubicBezTo>
                    <a:pt x="0" y="571797"/>
                    <a:pt x="151954" y="703063"/>
                    <a:pt x="331885" y="703063"/>
                  </a:cubicBezTo>
                  <a:cubicBezTo>
                    <a:pt x="512117" y="703063"/>
                    <a:pt x="663473" y="571946"/>
                    <a:pt x="663473" y="403174"/>
                  </a:cubicBezTo>
                  <a:lnTo>
                    <a:pt x="663473" y="300038"/>
                  </a:lnTo>
                  <a:cubicBezTo>
                    <a:pt x="663473" y="131415"/>
                    <a:pt x="512114" y="0"/>
                    <a:pt x="331885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9981BB8-90C9-EF06-6278-05619BD53130}"/>
                </a:ext>
              </a:extLst>
            </p:cNvPr>
            <p:cNvSpPr/>
            <p:nvPr/>
          </p:nvSpPr>
          <p:spPr>
            <a:xfrm>
              <a:off x="1328579" y="1810051"/>
              <a:ext cx="814386" cy="626336"/>
            </a:xfrm>
            <a:custGeom>
              <a:avLst/>
              <a:gdLst>
                <a:gd name="connsiteX0" fmla="*/ 1501165 w 3266100"/>
                <a:gd name="connsiteY0" fmla="*/ 200044 h 2511925"/>
                <a:gd name="connsiteX1" fmla="*/ 1534502 w 3266100"/>
                <a:gd name="connsiteY1" fmla="*/ 260615 h 2511925"/>
                <a:gd name="connsiteX2" fmla="*/ 1571562 w 3266100"/>
                <a:gd name="connsiteY2" fmla="*/ 307349 h 2511925"/>
                <a:gd name="connsiteX3" fmla="*/ 1097408 w 3266100"/>
                <a:gd name="connsiteY3" fmla="*/ 903538 h 2511925"/>
                <a:gd name="connsiteX4" fmla="*/ 1087136 w 3266100"/>
                <a:gd name="connsiteY4" fmla="*/ 933305 h 2511925"/>
                <a:gd name="connsiteX5" fmla="*/ 1087136 w 3266100"/>
                <a:gd name="connsiteY5" fmla="*/ 1458967 h 2511925"/>
                <a:gd name="connsiteX6" fmla="*/ 1087285 w 3266100"/>
                <a:gd name="connsiteY6" fmla="*/ 1464031 h 2511925"/>
                <a:gd name="connsiteX7" fmla="*/ 1185807 w 3266100"/>
                <a:gd name="connsiteY7" fmla="*/ 2372182 h 2511925"/>
                <a:gd name="connsiteX8" fmla="*/ 1037873 w 3266100"/>
                <a:gd name="connsiteY8" fmla="*/ 2368609 h 2511925"/>
                <a:gd name="connsiteX9" fmla="*/ 897230 w 3266100"/>
                <a:gd name="connsiteY9" fmla="*/ 1700525 h 2511925"/>
                <a:gd name="connsiteX10" fmla="*/ 874016 w 3266100"/>
                <a:gd name="connsiteY10" fmla="*/ 1648880 h 2511925"/>
                <a:gd name="connsiteX11" fmla="*/ 815079 w 3266100"/>
                <a:gd name="connsiteY11" fmla="*/ 1623132 h 2511925"/>
                <a:gd name="connsiteX12" fmla="*/ 756142 w 3266100"/>
                <a:gd name="connsiteY12" fmla="*/ 1648880 h 2511925"/>
                <a:gd name="connsiteX13" fmla="*/ 732776 w 3266100"/>
                <a:gd name="connsiteY13" fmla="*/ 1700525 h 2511925"/>
                <a:gd name="connsiteX14" fmla="*/ 592133 w 3266100"/>
                <a:gd name="connsiteY14" fmla="*/ 2368609 h 2511925"/>
                <a:gd name="connsiteX15" fmla="*/ 444496 w 3266100"/>
                <a:gd name="connsiteY15" fmla="*/ 2372182 h 2511925"/>
                <a:gd name="connsiteX16" fmla="*/ 542870 w 3266100"/>
                <a:gd name="connsiteY16" fmla="*/ 1464031 h 2511925"/>
                <a:gd name="connsiteX17" fmla="*/ 543316 w 3266100"/>
                <a:gd name="connsiteY17" fmla="*/ 1049541 h 2511925"/>
                <a:gd name="connsiteX18" fmla="*/ 454912 w 3266100"/>
                <a:gd name="connsiteY18" fmla="*/ 1023496 h 2511925"/>
                <a:gd name="connsiteX19" fmla="*/ 200861 w 3266100"/>
                <a:gd name="connsiteY19" fmla="*/ 1419964 h 2511925"/>
                <a:gd name="connsiteX20" fmla="*/ 121240 w 3266100"/>
                <a:gd name="connsiteY20" fmla="*/ 1449282 h 2511925"/>
                <a:gd name="connsiteX21" fmla="*/ 97725 w 3266100"/>
                <a:gd name="connsiteY21" fmla="*/ 1423980 h 2511925"/>
                <a:gd name="connsiteX22" fmla="*/ 101893 w 3266100"/>
                <a:gd name="connsiteY22" fmla="*/ 1386330 h 2511925"/>
                <a:gd name="connsiteX23" fmla="*/ 412050 w 3266100"/>
                <a:gd name="connsiteY23" fmla="*/ 729562 h 2511925"/>
                <a:gd name="connsiteX24" fmla="*/ 481700 w 3266100"/>
                <a:gd name="connsiteY24" fmla="*/ 644728 h 2511925"/>
                <a:gd name="connsiteX25" fmla="*/ 593322 w 3266100"/>
                <a:gd name="connsiteY25" fmla="*/ 633714 h 2511925"/>
                <a:gd name="connsiteX26" fmla="*/ 814927 w 3266100"/>
                <a:gd name="connsiteY26" fmla="*/ 673155 h 2511925"/>
                <a:gd name="connsiteX27" fmla="*/ 1176282 w 3266100"/>
                <a:gd name="connsiteY27" fmla="*/ 518225 h 2511925"/>
                <a:gd name="connsiteX28" fmla="*/ 1634366 w 3266100"/>
                <a:gd name="connsiteY28" fmla="*/ 93482 h 2511925"/>
                <a:gd name="connsiteX29" fmla="*/ 1677229 w 3266100"/>
                <a:gd name="connsiteY29" fmla="*/ 114468 h 2511925"/>
                <a:gd name="connsiteX30" fmla="*/ 2089471 w 3266100"/>
                <a:gd name="connsiteY30" fmla="*/ 518099 h 2511925"/>
                <a:gd name="connsiteX31" fmla="*/ 2450827 w 3266100"/>
                <a:gd name="connsiteY31" fmla="*/ 673029 h 2511925"/>
                <a:gd name="connsiteX32" fmla="*/ 2672580 w 3266100"/>
                <a:gd name="connsiteY32" fmla="*/ 633588 h 2511925"/>
                <a:gd name="connsiteX33" fmla="*/ 2783904 w 3266100"/>
                <a:gd name="connsiteY33" fmla="*/ 644599 h 2511925"/>
                <a:gd name="connsiteX34" fmla="*/ 2853555 w 3266100"/>
                <a:gd name="connsiteY34" fmla="*/ 729432 h 2511925"/>
                <a:gd name="connsiteX35" fmla="*/ 3163712 w 3266100"/>
                <a:gd name="connsiteY35" fmla="*/ 1386200 h 2511925"/>
                <a:gd name="connsiteX36" fmla="*/ 3167880 w 3266100"/>
                <a:gd name="connsiteY36" fmla="*/ 1423854 h 2511925"/>
                <a:gd name="connsiteX37" fmla="*/ 3144365 w 3266100"/>
                <a:gd name="connsiteY37" fmla="*/ 1449156 h 2511925"/>
                <a:gd name="connsiteX38" fmla="*/ 3064743 w 3266100"/>
                <a:gd name="connsiteY38" fmla="*/ 1419835 h 2511925"/>
                <a:gd name="connsiteX39" fmla="*/ 2810990 w 3266100"/>
                <a:gd name="connsiteY39" fmla="*/ 1023370 h 2511925"/>
                <a:gd name="connsiteX40" fmla="*/ 2722586 w 3266100"/>
                <a:gd name="connsiteY40" fmla="*/ 1049411 h 2511925"/>
                <a:gd name="connsiteX41" fmla="*/ 2722735 w 3266100"/>
                <a:gd name="connsiteY41" fmla="*/ 1463901 h 2511925"/>
                <a:gd name="connsiteX42" fmla="*/ 2821109 w 3266100"/>
                <a:gd name="connsiteY42" fmla="*/ 2372053 h 2511925"/>
                <a:gd name="connsiteX43" fmla="*/ 2673323 w 3266100"/>
                <a:gd name="connsiteY43" fmla="*/ 2368483 h 2511925"/>
                <a:gd name="connsiteX44" fmla="*/ 2532681 w 3266100"/>
                <a:gd name="connsiteY44" fmla="*/ 1700399 h 2511925"/>
                <a:gd name="connsiteX45" fmla="*/ 2509463 w 3266100"/>
                <a:gd name="connsiteY45" fmla="*/ 1648755 h 2511925"/>
                <a:gd name="connsiteX46" fmla="*/ 2450526 w 3266100"/>
                <a:gd name="connsiteY46" fmla="*/ 1623007 h 2511925"/>
                <a:gd name="connsiteX47" fmla="*/ 2391440 w 3266100"/>
                <a:gd name="connsiteY47" fmla="*/ 1648755 h 2511925"/>
                <a:gd name="connsiteX48" fmla="*/ 2368222 w 3266100"/>
                <a:gd name="connsiteY48" fmla="*/ 1700399 h 2511925"/>
                <a:gd name="connsiteX49" fmla="*/ 2227580 w 3266100"/>
                <a:gd name="connsiteY49" fmla="*/ 2368483 h 2511925"/>
                <a:gd name="connsiteX50" fmla="*/ 2079942 w 3266100"/>
                <a:gd name="connsiteY50" fmla="*/ 2372053 h 2511925"/>
                <a:gd name="connsiteX51" fmla="*/ 2178316 w 3266100"/>
                <a:gd name="connsiteY51" fmla="*/ 1463901 h 2511925"/>
                <a:gd name="connsiteX52" fmla="*/ 2178465 w 3266100"/>
                <a:gd name="connsiteY52" fmla="*/ 933168 h 2511925"/>
                <a:gd name="connsiteX53" fmla="*/ 2168048 w 3266100"/>
                <a:gd name="connsiteY53" fmla="*/ 903404 h 2511925"/>
                <a:gd name="connsiteX54" fmla="*/ 1609198 w 3266100"/>
                <a:gd name="connsiteY54" fmla="*/ 200650 h 2511925"/>
                <a:gd name="connsiteX55" fmla="*/ 1601459 w 3266100"/>
                <a:gd name="connsiteY55" fmla="*/ 108524 h 2511925"/>
                <a:gd name="connsiteX56" fmla="*/ 1634351 w 3266100"/>
                <a:gd name="connsiteY56" fmla="*/ 93494 h 2511925"/>
                <a:gd name="connsiteX57" fmla="*/ 1635707 w 3266100"/>
                <a:gd name="connsiteY57" fmla="*/ 19 h 2511925"/>
                <a:gd name="connsiteX58" fmla="*/ 1521705 w 3266100"/>
                <a:gd name="connsiteY58" fmla="*/ 45411 h 2511925"/>
                <a:gd name="connsiteX59" fmla="*/ 1109158 w 3266100"/>
                <a:gd name="connsiteY59" fmla="*/ 449348 h 2511925"/>
                <a:gd name="connsiteX60" fmla="*/ 815521 w 3266100"/>
                <a:gd name="connsiteY60" fmla="*/ 577044 h 2511925"/>
                <a:gd name="connsiteX61" fmla="*/ 620853 w 3266100"/>
                <a:gd name="connsiteY61" fmla="*/ 541473 h 2511925"/>
                <a:gd name="connsiteX62" fmla="*/ 430502 w 3266100"/>
                <a:gd name="connsiteY62" fmla="*/ 563053 h 2511925"/>
                <a:gd name="connsiteX63" fmla="*/ 325578 w 3266100"/>
                <a:gd name="connsiteY63" fmla="*/ 688517 h 2511925"/>
                <a:gd name="connsiteX64" fmla="*/ 16906 w 3266100"/>
                <a:gd name="connsiteY64" fmla="*/ 1342313 h 2511925"/>
                <a:gd name="connsiteX65" fmla="*/ 7827 w 3266100"/>
                <a:gd name="connsiteY65" fmla="*/ 1457207 h 2511925"/>
                <a:gd name="connsiteX66" fmla="*/ 77775 w 3266100"/>
                <a:gd name="connsiteY66" fmla="*/ 1535045 h 2511925"/>
                <a:gd name="connsiteX67" fmla="*/ 281672 w 3266100"/>
                <a:gd name="connsiteY67" fmla="*/ 1471792 h 2511925"/>
                <a:gd name="connsiteX68" fmla="*/ 447468 w 3266100"/>
                <a:gd name="connsiteY68" fmla="*/ 1212978 h 2511925"/>
                <a:gd name="connsiteX69" fmla="*/ 447468 w 3266100"/>
                <a:gd name="connsiteY69" fmla="*/ 1456312 h 2511925"/>
                <a:gd name="connsiteX70" fmla="*/ 348495 w 3266100"/>
                <a:gd name="connsiteY70" fmla="*/ 2369378 h 2511925"/>
                <a:gd name="connsiteX71" fmla="*/ 348347 w 3266100"/>
                <a:gd name="connsiteY71" fmla="*/ 2376819 h 2511925"/>
                <a:gd name="connsiteX72" fmla="*/ 687673 w 3266100"/>
                <a:gd name="connsiteY72" fmla="*/ 2380096 h 2511925"/>
                <a:gd name="connsiteX73" fmla="*/ 686926 w 3266100"/>
                <a:gd name="connsiteY73" fmla="*/ 2384260 h 2511925"/>
                <a:gd name="connsiteX74" fmla="*/ 815216 w 3266100"/>
                <a:gd name="connsiteY74" fmla="*/ 1774355 h 2511925"/>
                <a:gd name="connsiteX75" fmla="*/ 942912 w 3266100"/>
                <a:gd name="connsiteY75" fmla="*/ 2380222 h 2511925"/>
                <a:gd name="connsiteX76" fmla="*/ 1282090 w 3266100"/>
                <a:gd name="connsiteY76" fmla="*/ 2376948 h 2511925"/>
                <a:gd name="connsiteX77" fmla="*/ 1281941 w 3266100"/>
                <a:gd name="connsiteY77" fmla="*/ 2369508 h 2511925"/>
                <a:gd name="connsiteX78" fmla="*/ 1183118 w 3266100"/>
                <a:gd name="connsiteY78" fmla="*/ 1456441 h 2511925"/>
                <a:gd name="connsiteX79" fmla="*/ 1182969 w 3266100"/>
                <a:gd name="connsiteY79" fmla="*/ 950283 h 2511925"/>
                <a:gd name="connsiteX80" fmla="*/ 1632740 w 3266100"/>
                <a:gd name="connsiteY80" fmla="*/ 384307 h 2511925"/>
                <a:gd name="connsiteX81" fmla="*/ 2082510 w 3266100"/>
                <a:gd name="connsiteY81" fmla="*/ 950283 h 2511925"/>
                <a:gd name="connsiteX82" fmla="*/ 2082510 w 3266100"/>
                <a:gd name="connsiteY82" fmla="*/ 1456289 h 2511925"/>
                <a:gd name="connsiteX83" fmla="*/ 1983686 w 3266100"/>
                <a:gd name="connsiteY83" fmla="*/ 2369355 h 2511925"/>
                <a:gd name="connsiteX84" fmla="*/ 1983538 w 3266100"/>
                <a:gd name="connsiteY84" fmla="*/ 2376796 h 2511925"/>
                <a:gd name="connsiteX85" fmla="*/ 2322864 w 3266100"/>
                <a:gd name="connsiteY85" fmla="*/ 2380073 h 2511925"/>
                <a:gd name="connsiteX86" fmla="*/ 2450560 w 3266100"/>
                <a:gd name="connsiteY86" fmla="*/ 1774355 h 2511925"/>
                <a:gd name="connsiteX87" fmla="*/ 2578107 w 3266100"/>
                <a:gd name="connsiteY87" fmla="*/ 2380222 h 2511925"/>
                <a:gd name="connsiteX88" fmla="*/ 2917434 w 3266100"/>
                <a:gd name="connsiteY88" fmla="*/ 2376948 h 2511925"/>
                <a:gd name="connsiteX89" fmla="*/ 2917285 w 3266100"/>
                <a:gd name="connsiteY89" fmla="*/ 2369508 h 2511925"/>
                <a:gd name="connsiteX90" fmla="*/ 2818313 w 3266100"/>
                <a:gd name="connsiteY90" fmla="*/ 1456441 h 2511925"/>
                <a:gd name="connsiteX91" fmla="*/ 2818313 w 3266100"/>
                <a:gd name="connsiteY91" fmla="*/ 1213108 h 2511925"/>
                <a:gd name="connsiteX92" fmla="*/ 2984109 w 3266100"/>
                <a:gd name="connsiteY92" fmla="*/ 1471921 h 2511925"/>
                <a:gd name="connsiteX93" fmla="*/ 3188153 w 3266100"/>
                <a:gd name="connsiteY93" fmla="*/ 1535175 h 2511925"/>
                <a:gd name="connsiteX94" fmla="*/ 3258101 w 3266100"/>
                <a:gd name="connsiteY94" fmla="*/ 1457337 h 2511925"/>
                <a:gd name="connsiteX95" fmla="*/ 3249022 w 3266100"/>
                <a:gd name="connsiteY95" fmla="*/ 1342442 h 2511925"/>
                <a:gd name="connsiteX96" fmla="*/ 2940351 w 3266100"/>
                <a:gd name="connsiteY96" fmla="*/ 688646 h 2511925"/>
                <a:gd name="connsiteX97" fmla="*/ 2835427 w 3266100"/>
                <a:gd name="connsiteY97" fmla="*/ 563183 h 2511925"/>
                <a:gd name="connsiteX98" fmla="*/ 2645373 w 3266100"/>
                <a:gd name="connsiteY98" fmla="*/ 541603 h 2511925"/>
                <a:gd name="connsiteX99" fmla="*/ 2450705 w 3266100"/>
                <a:gd name="connsiteY99" fmla="*/ 577173 h 2511925"/>
                <a:gd name="connsiteX100" fmla="*/ 2156771 w 3266100"/>
                <a:gd name="connsiteY100" fmla="*/ 449477 h 2511925"/>
                <a:gd name="connsiteX101" fmla="*/ 1744224 w 3266100"/>
                <a:gd name="connsiteY101" fmla="*/ 45541 h 2511925"/>
                <a:gd name="connsiteX102" fmla="*/ 1635727 w 3266100"/>
                <a:gd name="connsiteY102" fmla="*/ 0 h 2511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3266100" h="2511925">
                  <a:moveTo>
                    <a:pt x="1501165" y="200044"/>
                  </a:moveTo>
                  <a:cubicBezTo>
                    <a:pt x="1508309" y="220584"/>
                    <a:pt x="1519022" y="241268"/>
                    <a:pt x="1534502" y="260615"/>
                  </a:cubicBezTo>
                  <a:lnTo>
                    <a:pt x="1571562" y="307349"/>
                  </a:lnTo>
                  <a:lnTo>
                    <a:pt x="1097408" y="903538"/>
                  </a:lnTo>
                  <a:cubicBezTo>
                    <a:pt x="1090858" y="912171"/>
                    <a:pt x="1087136" y="922439"/>
                    <a:pt x="1087136" y="933305"/>
                  </a:cubicBezTo>
                  <a:lnTo>
                    <a:pt x="1087136" y="1458967"/>
                  </a:lnTo>
                  <a:cubicBezTo>
                    <a:pt x="1087136" y="1460754"/>
                    <a:pt x="1087136" y="1462244"/>
                    <a:pt x="1087285" y="1464031"/>
                  </a:cubicBezTo>
                  <a:lnTo>
                    <a:pt x="1185807" y="2372182"/>
                  </a:lnTo>
                  <a:cubicBezTo>
                    <a:pt x="1181792" y="2427694"/>
                    <a:pt x="1049482" y="2423827"/>
                    <a:pt x="1037873" y="2368609"/>
                  </a:cubicBezTo>
                  <a:lnTo>
                    <a:pt x="897230" y="1700525"/>
                  </a:lnTo>
                  <a:cubicBezTo>
                    <a:pt x="893512" y="1682370"/>
                    <a:pt x="888003" y="1663915"/>
                    <a:pt x="874016" y="1648880"/>
                  </a:cubicBezTo>
                  <a:cubicBezTo>
                    <a:pt x="860174" y="1633999"/>
                    <a:pt x="837848" y="1623132"/>
                    <a:pt x="815079" y="1623132"/>
                  </a:cubicBezTo>
                  <a:cubicBezTo>
                    <a:pt x="792158" y="1623132"/>
                    <a:pt x="770133" y="1633999"/>
                    <a:pt x="756142" y="1648880"/>
                  </a:cubicBezTo>
                  <a:cubicBezTo>
                    <a:pt x="742003" y="1663911"/>
                    <a:pt x="736791" y="1682367"/>
                    <a:pt x="732776" y="1700525"/>
                  </a:cubicBezTo>
                  <a:lnTo>
                    <a:pt x="592133" y="2368609"/>
                  </a:lnTo>
                  <a:cubicBezTo>
                    <a:pt x="580376" y="2423823"/>
                    <a:pt x="448218" y="2427694"/>
                    <a:pt x="444496" y="2372182"/>
                  </a:cubicBezTo>
                  <a:lnTo>
                    <a:pt x="542870" y="1464031"/>
                  </a:lnTo>
                  <a:lnTo>
                    <a:pt x="543316" y="1049541"/>
                  </a:lnTo>
                  <a:cubicBezTo>
                    <a:pt x="543316" y="1001321"/>
                    <a:pt x="480660" y="982717"/>
                    <a:pt x="454912" y="1023496"/>
                  </a:cubicBezTo>
                  <a:lnTo>
                    <a:pt x="200861" y="1419964"/>
                  </a:lnTo>
                  <a:cubicBezTo>
                    <a:pt x="172584" y="1463867"/>
                    <a:pt x="144157" y="1461188"/>
                    <a:pt x="121240" y="1449282"/>
                  </a:cubicBezTo>
                  <a:cubicBezTo>
                    <a:pt x="109780" y="1443628"/>
                    <a:pt x="101446" y="1433802"/>
                    <a:pt x="97725" y="1423980"/>
                  </a:cubicBezTo>
                  <a:cubicBezTo>
                    <a:pt x="94153" y="1414009"/>
                    <a:pt x="93856" y="1403444"/>
                    <a:pt x="101893" y="1386330"/>
                  </a:cubicBezTo>
                  <a:lnTo>
                    <a:pt x="412050" y="729562"/>
                  </a:lnTo>
                  <a:cubicBezTo>
                    <a:pt x="428867" y="694437"/>
                    <a:pt x="452977" y="662738"/>
                    <a:pt x="481700" y="644728"/>
                  </a:cubicBezTo>
                  <a:cubicBezTo>
                    <a:pt x="510424" y="626421"/>
                    <a:pt x="543019" y="618535"/>
                    <a:pt x="593322" y="633714"/>
                  </a:cubicBezTo>
                  <a:cubicBezTo>
                    <a:pt x="670863" y="656932"/>
                    <a:pt x="739024" y="672854"/>
                    <a:pt x="814927" y="673155"/>
                  </a:cubicBezTo>
                  <a:cubicBezTo>
                    <a:pt x="937860" y="673600"/>
                    <a:pt x="1063617" y="628654"/>
                    <a:pt x="1176282" y="518225"/>
                  </a:cubicBezTo>
                  <a:close/>
                  <a:moveTo>
                    <a:pt x="1634366" y="93482"/>
                  </a:moveTo>
                  <a:cubicBezTo>
                    <a:pt x="1646867" y="93334"/>
                    <a:pt x="1661452" y="98988"/>
                    <a:pt x="1677229" y="114468"/>
                  </a:cubicBezTo>
                  <a:lnTo>
                    <a:pt x="2089471" y="518099"/>
                  </a:lnTo>
                  <a:cubicBezTo>
                    <a:pt x="2202430" y="628528"/>
                    <a:pt x="2328042" y="673475"/>
                    <a:pt x="2450827" y="673029"/>
                  </a:cubicBezTo>
                  <a:cubicBezTo>
                    <a:pt x="2526729" y="672583"/>
                    <a:pt x="2594742" y="656657"/>
                    <a:pt x="2672580" y="633588"/>
                  </a:cubicBezTo>
                  <a:cubicBezTo>
                    <a:pt x="2722883" y="618405"/>
                    <a:pt x="2755181" y="626295"/>
                    <a:pt x="2783904" y="644599"/>
                  </a:cubicBezTo>
                  <a:cubicBezTo>
                    <a:pt x="2812777" y="662757"/>
                    <a:pt x="2837035" y="694456"/>
                    <a:pt x="2853555" y="729432"/>
                  </a:cubicBezTo>
                  <a:lnTo>
                    <a:pt x="3163712" y="1386200"/>
                  </a:lnTo>
                  <a:cubicBezTo>
                    <a:pt x="3172494" y="1403166"/>
                    <a:pt x="3171599" y="1414032"/>
                    <a:pt x="3167880" y="1423854"/>
                  </a:cubicBezTo>
                  <a:cubicBezTo>
                    <a:pt x="3164158" y="1433825"/>
                    <a:pt x="3155677" y="1443499"/>
                    <a:pt x="3144365" y="1449156"/>
                  </a:cubicBezTo>
                  <a:cubicBezTo>
                    <a:pt x="3121444" y="1461063"/>
                    <a:pt x="3093017" y="1463741"/>
                    <a:pt x="3064743" y="1419835"/>
                  </a:cubicBezTo>
                  <a:lnTo>
                    <a:pt x="2810990" y="1023370"/>
                  </a:lnTo>
                  <a:cubicBezTo>
                    <a:pt x="2785242" y="982588"/>
                    <a:pt x="2722438" y="1001192"/>
                    <a:pt x="2722586" y="1049411"/>
                  </a:cubicBezTo>
                  <a:lnTo>
                    <a:pt x="2722735" y="1463901"/>
                  </a:lnTo>
                  <a:lnTo>
                    <a:pt x="2821109" y="2372053"/>
                  </a:lnTo>
                  <a:cubicBezTo>
                    <a:pt x="2817387" y="2427565"/>
                    <a:pt x="2685081" y="2423697"/>
                    <a:pt x="2673323" y="2368483"/>
                  </a:cubicBezTo>
                  <a:lnTo>
                    <a:pt x="2532681" y="1700399"/>
                  </a:lnTo>
                  <a:cubicBezTo>
                    <a:pt x="2528958" y="1682241"/>
                    <a:pt x="2523453" y="1663785"/>
                    <a:pt x="2509463" y="1648755"/>
                  </a:cubicBezTo>
                  <a:cubicBezTo>
                    <a:pt x="2495324" y="1633873"/>
                    <a:pt x="2473298" y="1623007"/>
                    <a:pt x="2450526" y="1623007"/>
                  </a:cubicBezTo>
                  <a:cubicBezTo>
                    <a:pt x="2427906" y="1623007"/>
                    <a:pt x="2405579" y="1633873"/>
                    <a:pt x="2391440" y="1648755"/>
                  </a:cubicBezTo>
                  <a:cubicBezTo>
                    <a:pt x="2377598" y="1663785"/>
                    <a:pt x="2372242" y="1682241"/>
                    <a:pt x="2368222" y="1700399"/>
                  </a:cubicBezTo>
                  <a:lnTo>
                    <a:pt x="2227580" y="2368483"/>
                  </a:lnTo>
                  <a:cubicBezTo>
                    <a:pt x="2221030" y="2424292"/>
                    <a:pt x="2083664" y="2427568"/>
                    <a:pt x="2079942" y="2372053"/>
                  </a:cubicBezTo>
                  <a:lnTo>
                    <a:pt x="2178316" y="1463901"/>
                  </a:lnTo>
                  <a:lnTo>
                    <a:pt x="2178465" y="933168"/>
                  </a:lnTo>
                  <a:cubicBezTo>
                    <a:pt x="2178465" y="922306"/>
                    <a:pt x="2174895" y="912038"/>
                    <a:pt x="2168048" y="903404"/>
                  </a:cubicBezTo>
                  <a:lnTo>
                    <a:pt x="1609198" y="200650"/>
                  </a:lnTo>
                  <a:cubicBezTo>
                    <a:pt x="1571098" y="152876"/>
                    <a:pt x="1583598" y="125490"/>
                    <a:pt x="1601459" y="108524"/>
                  </a:cubicBezTo>
                  <a:cubicBezTo>
                    <a:pt x="1610539" y="99891"/>
                    <a:pt x="1621550" y="93791"/>
                    <a:pt x="1634351" y="93494"/>
                  </a:cubicBezTo>
                  <a:close/>
                  <a:moveTo>
                    <a:pt x="1635707" y="19"/>
                  </a:moveTo>
                  <a:cubicBezTo>
                    <a:pt x="1589869" y="19"/>
                    <a:pt x="1550874" y="16985"/>
                    <a:pt x="1521705" y="45411"/>
                  </a:cubicBezTo>
                  <a:lnTo>
                    <a:pt x="1109158" y="449348"/>
                  </a:lnTo>
                  <a:cubicBezTo>
                    <a:pt x="1011972" y="544598"/>
                    <a:pt x="916128" y="577341"/>
                    <a:pt x="815521" y="577044"/>
                  </a:cubicBezTo>
                  <a:cubicBezTo>
                    <a:pt x="752420" y="576895"/>
                    <a:pt x="695118" y="563796"/>
                    <a:pt x="620853" y="541473"/>
                  </a:cubicBezTo>
                  <a:cubicBezTo>
                    <a:pt x="547926" y="519448"/>
                    <a:pt x="480656" y="531651"/>
                    <a:pt x="430502" y="563053"/>
                  </a:cubicBezTo>
                  <a:cubicBezTo>
                    <a:pt x="380644" y="594604"/>
                    <a:pt x="347604" y="641783"/>
                    <a:pt x="325578" y="688517"/>
                  </a:cubicBezTo>
                  <a:lnTo>
                    <a:pt x="16906" y="1342313"/>
                  </a:lnTo>
                  <a:cubicBezTo>
                    <a:pt x="-2591" y="1380413"/>
                    <a:pt x="-4675" y="1422532"/>
                    <a:pt x="7827" y="1457207"/>
                  </a:cubicBezTo>
                  <a:cubicBezTo>
                    <a:pt x="20775" y="1492034"/>
                    <a:pt x="46373" y="1518971"/>
                    <a:pt x="77775" y="1535045"/>
                  </a:cubicBezTo>
                  <a:cubicBezTo>
                    <a:pt x="140431" y="1567045"/>
                    <a:pt x="231517" y="1550228"/>
                    <a:pt x="281672" y="1471792"/>
                  </a:cubicBezTo>
                  <a:lnTo>
                    <a:pt x="447468" y="1212978"/>
                  </a:lnTo>
                  <a:lnTo>
                    <a:pt x="447468" y="1456312"/>
                  </a:lnTo>
                  <a:lnTo>
                    <a:pt x="348495" y="2369378"/>
                  </a:lnTo>
                  <a:cubicBezTo>
                    <a:pt x="348347" y="2371759"/>
                    <a:pt x="348049" y="2374438"/>
                    <a:pt x="348347" y="2376819"/>
                  </a:cubicBezTo>
                  <a:cubicBezTo>
                    <a:pt x="357426" y="2555413"/>
                    <a:pt x="666691" y="2557200"/>
                    <a:pt x="687673" y="2380096"/>
                  </a:cubicBezTo>
                  <a:lnTo>
                    <a:pt x="686926" y="2384260"/>
                  </a:lnTo>
                  <a:lnTo>
                    <a:pt x="815216" y="1774355"/>
                  </a:lnTo>
                  <a:lnTo>
                    <a:pt x="942912" y="2380222"/>
                  </a:lnTo>
                  <a:cubicBezTo>
                    <a:pt x="963601" y="2557181"/>
                    <a:pt x="1273015" y="2555546"/>
                    <a:pt x="1282090" y="2376948"/>
                  </a:cubicBezTo>
                  <a:cubicBezTo>
                    <a:pt x="1282239" y="2374567"/>
                    <a:pt x="1282090" y="2371889"/>
                    <a:pt x="1281941" y="2369508"/>
                  </a:cubicBezTo>
                  <a:lnTo>
                    <a:pt x="1183118" y="1456441"/>
                  </a:lnTo>
                  <a:lnTo>
                    <a:pt x="1182969" y="950283"/>
                  </a:lnTo>
                  <a:lnTo>
                    <a:pt x="1632740" y="384307"/>
                  </a:lnTo>
                  <a:lnTo>
                    <a:pt x="2082510" y="950283"/>
                  </a:lnTo>
                  <a:lnTo>
                    <a:pt x="2082510" y="1456289"/>
                  </a:lnTo>
                  <a:lnTo>
                    <a:pt x="1983686" y="2369355"/>
                  </a:lnTo>
                  <a:cubicBezTo>
                    <a:pt x="1983538" y="2371737"/>
                    <a:pt x="1983538" y="2374415"/>
                    <a:pt x="1983538" y="2376796"/>
                  </a:cubicBezTo>
                  <a:cubicBezTo>
                    <a:pt x="1992765" y="2555390"/>
                    <a:pt x="2301882" y="2557177"/>
                    <a:pt x="2322864" y="2380073"/>
                  </a:cubicBezTo>
                  <a:lnTo>
                    <a:pt x="2450560" y="1774355"/>
                  </a:lnTo>
                  <a:lnTo>
                    <a:pt x="2578107" y="2380222"/>
                  </a:lnTo>
                  <a:cubicBezTo>
                    <a:pt x="2614870" y="2554651"/>
                    <a:pt x="2908358" y="2555546"/>
                    <a:pt x="2917434" y="2376948"/>
                  </a:cubicBezTo>
                  <a:cubicBezTo>
                    <a:pt x="2917582" y="2374567"/>
                    <a:pt x="2917434" y="2371889"/>
                    <a:pt x="2917285" y="2369508"/>
                  </a:cubicBezTo>
                  <a:lnTo>
                    <a:pt x="2818313" y="1456441"/>
                  </a:lnTo>
                  <a:lnTo>
                    <a:pt x="2818313" y="1213108"/>
                  </a:lnTo>
                  <a:lnTo>
                    <a:pt x="2984109" y="1471921"/>
                  </a:lnTo>
                  <a:cubicBezTo>
                    <a:pt x="3034412" y="1550354"/>
                    <a:pt x="3125494" y="1567171"/>
                    <a:pt x="3188153" y="1535175"/>
                  </a:cubicBezTo>
                  <a:cubicBezTo>
                    <a:pt x="3219406" y="1519100"/>
                    <a:pt x="3245155" y="1492164"/>
                    <a:pt x="3258101" y="1457337"/>
                  </a:cubicBezTo>
                  <a:cubicBezTo>
                    <a:pt x="3270902" y="1422810"/>
                    <a:pt x="3268670" y="1380691"/>
                    <a:pt x="3249022" y="1342442"/>
                  </a:cubicBezTo>
                  <a:lnTo>
                    <a:pt x="2940351" y="688646"/>
                  </a:lnTo>
                  <a:cubicBezTo>
                    <a:pt x="2918325" y="641913"/>
                    <a:pt x="2885136" y="594737"/>
                    <a:pt x="2835427" y="563183"/>
                  </a:cubicBezTo>
                  <a:cubicBezTo>
                    <a:pt x="2785569" y="531632"/>
                    <a:pt x="2718300" y="519577"/>
                    <a:pt x="2645373" y="541603"/>
                  </a:cubicBezTo>
                  <a:cubicBezTo>
                    <a:pt x="2570811" y="563926"/>
                    <a:pt x="2513513" y="576876"/>
                    <a:pt x="2450705" y="577173"/>
                  </a:cubicBezTo>
                  <a:cubicBezTo>
                    <a:pt x="2350098" y="577619"/>
                    <a:pt x="2254101" y="544727"/>
                    <a:pt x="2156771" y="449477"/>
                  </a:cubicBezTo>
                  <a:lnTo>
                    <a:pt x="1744224" y="45541"/>
                  </a:lnTo>
                  <a:cubicBezTo>
                    <a:pt x="1712376" y="14585"/>
                    <a:pt x="1673381" y="0"/>
                    <a:pt x="1635727" y="0"/>
                  </a:cubicBezTo>
                  <a:close/>
                </a:path>
              </a:pathLst>
            </a:custGeom>
            <a:solidFill>
              <a:schemeClr val="accent2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D3E316E0-475A-F262-3E24-9D6794538AC8}"/>
                </a:ext>
              </a:extLst>
            </p:cNvPr>
            <p:cNvSpPr/>
            <p:nvPr/>
          </p:nvSpPr>
          <p:spPr>
            <a:xfrm>
              <a:off x="1856777" y="1758172"/>
              <a:ext cx="165471" cy="175305"/>
            </a:xfrm>
            <a:custGeom>
              <a:avLst/>
              <a:gdLst>
                <a:gd name="connsiteX0" fmla="*/ 331588 w 663621"/>
                <a:gd name="connsiteY0" fmla="*/ 96142 h 703063"/>
                <a:gd name="connsiteX1" fmla="*/ 95696 w 663621"/>
                <a:gd name="connsiteY1" fmla="*/ 300186 h 703063"/>
                <a:gd name="connsiteX2" fmla="*/ 95696 w 663621"/>
                <a:gd name="connsiteY2" fmla="*/ 403323 h 703063"/>
                <a:gd name="connsiteX3" fmla="*/ 331588 w 663621"/>
                <a:gd name="connsiteY3" fmla="*/ 607070 h 703063"/>
                <a:gd name="connsiteX4" fmla="*/ 567480 w 663621"/>
                <a:gd name="connsiteY4" fmla="*/ 403323 h 703063"/>
                <a:gd name="connsiteX5" fmla="*/ 567480 w 663621"/>
                <a:gd name="connsiteY5" fmla="*/ 300186 h 703063"/>
                <a:gd name="connsiteX6" fmla="*/ 331588 w 663621"/>
                <a:gd name="connsiteY6" fmla="*/ 96142 h 703063"/>
                <a:gd name="connsiteX7" fmla="*/ 331588 w 663621"/>
                <a:gd name="connsiteY7" fmla="*/ 0 h 703063"/>
                <a:gd name="connsiteX8" fmla="*/ 663622 w 663621"/>
                <a:gd name="connsiteY8" fmla="*/ 300038 h 703063"/>
                <a:gd name="connsiteX9" fmla="*/ 663622 w 663621"/>
                <a:gd name="connsiteY9" fmla="*/ 403174 h 703063"/>
                <a:gd name="connsiteX10" fmla="*/ 331588 w 663621"/>
                <a:gd name="connsiteY10" fmla="*/ 703063 h 703063"/>
                <a:gd name="connsiteX11" fmla="*/ 0 w 663621"/>
                <a:gd name="connsiteY11" fmla="*/ 403174 h 703063"/>
                <a:gd name="connsiteX12" fmla="*/ 0 w 663621"/>
                <a:gd name="connsiteY12" fmla="*/ 300038 h 703063"/>
                <a:gd name="connsiteX13" fmla="*/ 331588 w 663621"/>
                <a:gd name="connsiteY13" fmla="*/ 0 h 703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63621" h="703063">
                  <a:moveTo>
                    <a:pt x="331588" y="96142"/>
                  </a:moveTo>
                  <a:cubicBezTo>
                    <a:pt x="197049" y="96142"/>
                    <a:pt x="95696" y="189753"/>
                    <a:pt x="95696" y="300186"/>
                  </a:cubicBezTo>
                  <a:lnTo>
                    <a:pt x="95696" y="403323"/>
                  </a:lnTo>
                  <a:cubicBezTo>
                    <a:pt x="95696" y="513752"/>
                    <a:pt x="197049" y="607070"/>
                    <a:pt x="331588" y="607070"/>
                  </a:cubicBezTo>
                  <a:cubicBezTo>
                    <a:pt x="466127" y="607070"/>
                    <a:pt x="567480" y="513756"/>
                    <a:pt x="567480" y="403323"/>
                  </a:cubicBezTo>
                  <a:lnTo>
                    <a:pt x="567480" y="300186"/>
                  </a:lnTo>
                  <a:cubicBezTo>
                    <a:pt x="567480" y="189757"/>
                    <a:pt x="465978" y="96142"/>
                    <a:pt x="331588" y="96142"/>
                  </a:cubicBezTo>
                  <a:close/>
                  <a:moveTo>
                    <a:pt x="331588" y="0"/>
                  </a:moveTo>
                  <a:cubicBezTo>
                    <a:pt x="511820" y="0"/>
                    <a:pt x="663622" y="131415"/>
                    <a:pt x="663622" y="300038"/>
                  </a:cubicBezTo>
                  <a:lnTo>
                    <a:pt x="663622" y="403174"/>
                  </a:lnTo>
                  <a:cubicBezTo>
                    <a:pt x="663622" y="571797"/>
                    <a:pt x="511668" y="703063"/>
                    <a:pt x="331588" y="703063"/>
                  </a:cubicBezTo>
                  <a:cubicBezTo>
                    <a:pt x="151653" y="703063"/>
                    <a:pt x="0" y="571946"/>
                    <a:pt x="0" y="403174"/>
                  </a:cubicBezTo>
                  <a:lnTo>
                    <a:pt x="0" y="300038"/>
                  </a:lnTo>
                  <a:cubicBezTo>
                    <a:pt x="0" y="131415"/>
                    <a:pt x="151657" y="0"/>
                    <a:pt x="331588" y="0"/>
                  </a:cubicBezTo>
                  <a:close/>
                </a:path>
              </a:pathLst>
            </a:custGeom>
            <a:solidFill>
              <a:schemeClr val="accent3"/>
            </a:solidFill>
            <a:ln w="381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l-NL" dirty="0"/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id="{C413E55F-B5ED-BDC6-3FDE-DBCE5826ED8D}"/>
              </a:ext>
            </a:extLst>
          </p:cNvPr>
          <p:cNvSpPr txBox="1"/>
          <p:nvPr/>
        </p:nvSpPr>
        <p:spPr>
          <a:xfrm>
            <a:off x="409606" y="3152541"/>
            <a:ext cx="26929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 dirty="0">
                <a:solidFill>
                  <a:schemeClr val="tx1"/>
                </a:solidFill>
              </a:rPr>
              <a:t>Wij delen onze expertise met je en helpen je op weg met het in kaart brengen én verbeteren van de medewerkerbeleving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01A4122-20A9-8B6B-F06B-D6E3F2348B1F}"/>
              </a:ext>
            </a:extLst>
          </p:cNvPr>
          <p:cNvSpPr txBox="1"/>
          <p:nvPr/>
        </p:nvSpPr>
        <p:spPr>
          <a:xfrm>
            <a:off x="6075581" y="3152541"/>
            <a:ext cx="2863187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 dirty="0">
                <a:solidFill>
                  <a:schemeClr val="tx1"/>
                </a:solidFill>
              </a:rPr>
              <a:t>We nemen diepte-interviews bij jullie medewerkers af (1-op-1):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m.b.v. een associatieve methode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om hun behoeftes en beleving uit hun onderbewuste op tafel te krijg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om de momenten van de waarheid te bepal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endParaRPr lang="nl-NL" sz="1200" dirty="0">
              <a:solidFill>
                <a:schemeClr val="tx1"/>
              </a:solidFill>
            </a:endParaRPr>
          </a:p>
          <a:p>
            <a:r>
              <a:rPr lang="nl-NL" sz="1200" dirty="0">
                <a:solidFill>
                  <a:schemeClr val="tx1"/>
                </a:solidFill>
              </a:rPr>
              <a:t>Met jullie multidisciplinaire team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/>
              <a:t>b</a:t>
            </a:r>
            <a:r>
              <a:rPr lang="nl-NL" sz="1200" dirty="0">
                <a:solidFill>
                  <a:schemeClr val="tx1"/>
                </a:solidFill>
              </a:rPr>
              <a:t>epalen we de gewenste beleving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stellen we een roadmap op om de</a:t>
            </a:r>
            <a:r>
              <a:rPr lang="nl-NL" sz="1200" dirty="0"/>
              <a:t> gewenste beleving te realiseren én de</a:t>
            </a:r>
            <a:r>
              <a:rPr lang="nl-NL" sz="1200" dirty="0">
                <a:solidFill>
                  <a:schemeClr val="tx1"/>
                </a:solidFill>
              </a:rPr>
              <a:t> beleving continu te verbeteren</a:t>
            </a:r>
            <a:endParaRPr lang="nl-NL" sz="1100" dirty="0">
              <a:solidFill>
                <a:schemeClr val="accent2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257E953-CF5C-9BAD-4921-C0285D4C28AB}"/>
              </a:ext>
            </a:extLst>
          </p:cNvPr>
          <p:cNvSpPr txBox="1"/>
          <p:nvPr/>
        </p:nvSpPr>
        <p:spPr>
          <a:xfrm>
            <a:off x="3265934" y="3152541"/>
            <a:ext cx="264904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 dirty="0">
                <a:solidFill>
                  <a:schemeClr val="tx1"/>
                </a:solidFill>
              </a:rPr>
              <a:t>We organiseren focusgroepen met jullie medewerkers om: 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hun behoeftes en beleving in alle stappen in de reis in kaart te brengen</a:t>
            </a:r>
            <a:endParaRPr lang="nl-NL" sz="1200" dirty="0"/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momenten van de waarheid te bepalen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verbeteringen te identificeren</a:t>
            </a:r>
            <a:endParaRPr lang="nl-NL" sz="1100" dirty="0">
              <a:solidFill>
                <a:schemeClr val="accent2"/>
              </a:solidFill>
            </a:endParaRPr>
          </a:p>
        </p:txBody>
      </p:sp>
      <p:sp>
        <p:nvSpPr>
          <p:cNvPr id="1054" name="Content Placeholder 2">
            <a:extLst>
              <a:ext uri="{FF2B5EF4-FFF2-40B4-BE49-F238E27FC236}">
                <a16:creationId xmlns:a16="http://schemas.microsoft.com/office/drawing/2014/main" id="{100E6550-D66E-916D-4034-7BED732DE2D2}"/>
              </a:ext>
            </a:extLst>
          </p:cNvPr>
          <p:cNvSpPr txBox="1">
            <a:spLocks/>
          </p:cNvSpPr>
          <p:nvPr/>
        </p:nvSpPr>
        <p:spPr>
          <a:xfrm>
            <a:off x="3602851" y="6305752"/>
            <a:ext cx="2910790" cy="30757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171496" indent="-171496" algn="l" defTabSz="685983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F94D1"/>
              </a:buClr>
              <a:buFont typeface="Arial"/>
              <a:buChar char="•"/>
              <a:defRPr sz="2101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1pPr>
            <a:lvl2pPr marL="292100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Arial" panose="020B0604020202020204" pitchFamily="34" charset="0"/>
              <a:buChar char="–"/>
              <a:tabLst/>
              <a:defRPr sz="18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2pPr>
            <a:lvl3pPr marL="460375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60000"/>
              <a:buFont typeface="Arial" panose="020B0604020202020204" pitchFamily="34" charset="0"/>
              <a:buChar char="►"/>
              <a:tabLst/>
              <a:defRPr sz="150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3pPr>
            <a:lvl4pPr marL="573088" indent="-112713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Font typeface="Wingdings" panose="05000000000000000000" pitchFamily="2" charset="2"/>
              <a:buChar char="§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4pPr>
            <a:lvl5pPr marL="695325" indent="-122238" algn="l" defTabSz="685983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F94D1"/>
              </a:buClr>
              <a:buSzPct val="80000"/>
              <a:buFont typeface="Courier New" panose="02070309020205020404" pitchFamily="49" charset="0"/>
              <a:buChar char="o"/>
              <a:tabLst/>
              <a:defRPr sz="1350" kern="1200">
                <a:solidFill>
                  <a:srgbClr val="00467B"/>
                </a:solidFill>
                <a:latin typeface="+mn-lt"/>
                <a:ea typeface="+mn-ea"/>
                <a:cs typeface="+mn-cs"/>
              </a:defRPr>
            </a:lvl5pPr>
            <a:lvl6pPr marL="1886453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9444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2436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5427" indent="-171496" algn="l" defTabSz="685983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 dirty="0">
                <a:solidFill>
                  <a:schemeClr val="accent6"/>
                </a:solidFill>
                <a:cs typeface="Arial" panose="020B0604020202020204" pitchFamily="34" charset="0"/>
              </a:rPr>
              <a:t>Medewerkertevredenheid</a:t>
            </a:r>
          </a:p>
          <a:p>
            <a:pPr marL="0" indent="0" algn="r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 dirty="0">
                <a:solidFill>
                  <a:schemeClr val="accent6"/>
                </a:solidFill>
                <a:cs typeface="Arial" panose="020B0604020202020204" pitchFamily="34" charset="0"/>
              </a:rPr>
              <a:t>Aantrekkelijke werkgever</a:t>
            </a:r>
          </a:p>
        </p:txBody>
      </p:sp>
      <p:pic>
        <p:nvPicPr>
          <p:cNvPr id="1056" name="Graphic 1055" descr="Staafdiagram met stijgende lijn met effen opvulling">
            <a:extLst>
              <a:ext uri="{FF2B5EF4-FFF2-40B4-BE49-F238E27FC236}">
                <a16:creationId xmlns:a16="http://schemas.microsoft.com/office/drawing/2014/main" id="{2D4582C5-927A-07F5-DB96-077FC6CCD8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96593" y="6237461"/>
            <a:ext cx="440682" cy="444160"/>
          </a:xfrm>
          <a:prstGeom prst="rect">
            <a:avLst/>
          </a:prstGeom>
        </p:spPr>
      </p:pic>
      <p:pic>
        <p:nvPicPr>
          <p:cNvPr id="1057" name="Graphic 1056" descr="Staafdiagram met dalende lijn met effen opvulling">
            <a:extLst>
              <a:ext uri="{FF2B5EF4-FFF2-40B4-BE49-F238E27FC236}">
                <a16:creationId xmlns:a16="http://schemas.microsoft.com/office/drawing/2014/main" id="{48045ACC-8234-54A9-740C-F3B50803DE4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52649" y="6237461"/>
            <a:ext cx="440682" cy="444160"/>
          </a:xfrm>
          <a:prstGeom prst="rect">
            <a:avLst/>
          </a:prstGeom>
        </p:spPr>
      </p:pic>
      <p:sp>
        <p:nvSpPr>
          <p:cNvPr id="1058" name="TextBox 1057">
            <a:extLst>
              <a:ext uri="{FF2B5EF4-FFF2-40B4-BE49-F238E27FC236}">
                <a16:creationId xmlns:a16="http://schemas.microsoft.com/office/drawing/2014/main" id="{646CACFA-3922-A829-F726-EAD4F76551B5}"/>
              </a:ext>
            </a:extLst>
          </p:cNvPr>
          <p:cNvSpPr txBox="1"/>
          <p:nvPr/>
        </p:nvSpPr>
        <p:spPr>
          <a:xfrm>
            <a:off x="7534596" y="6308731"/>
            <a:ext cx="2101292" cy="3016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ct val="85000"/>
              </a:lnSpc>
              <a:spcBef>
                <a:spcPts val="300"/>
              </a:spcBef>
              <a:buNone/>
            </a:pPr>
            <a:r>
              <a:rPr lang="nl-NL" sz="1600" dirty="0">
                <a:solidFill>
                  <a:schemeClr val="tx2"/>
                </a:solidFill>
                <a:cs typeface="Arial" panose="020B0604020202020204" pitchFamily="34" charset="0"/>
              </a:rPr>
              <a:t>Verzuim en Verloop</a:t>
            </a:r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95E55C4F-4981-7067-7DCB-C6D9C6977349}"/>
              </a:ext>
            </a:extLst>
          </p:cNvPr>
          <p:cNvSpPr/>
          <p:nvPr/>
        </p:nvSpPr>
        <p:spPr>
          <a:xfrm>
            <a:off x="1841251" y="6301442"/>
            <a:ext cx="3205655" cy="2791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b="1" dirty="0">
                <a:solidFill>
                  <a:schemeClr val="accent2"/>
                </a:solidFill>
              </a:rPr>
              <a:t>Resultaat</a:t>
            </a:r>
          </a:p>
        </p:txBody>
      </p:sp>
      <p:sp>
        <p:nvSpPr>
          <p:cNvPr id="1077" name="Isosceles Triangle 1076">
            <a:extLst>
              <a:ext uri="{FF2B5EF4-FFF2-40B4-BE49-F238E27FC236}">
                <a16:creationId xmlns:a16="http://schemas.microsoft.com/office/drawing/2014/main" id="{45E14C41-41BF-3445-B2A2-71430FA4F934}"/>
              </a:ext>
            </a:extLst>
          </p:cNvPr>
          <p:cNvSpPr/>
          <p:nvPr/>
        </p:nvSpPr>
        <p:spPr>
          <a:xfrm rot="5400000">
            <a:off x="2457668" y="6269192"/>
            <a:ext cx="604284" cy="380699"/>
          </a:xfrm>
          <a:prstGeom prst="triangl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grpSp>
        <p:nvGrpSpPr>
          <p:cNvPr id="3" name="Group 1071">
            <a:extLst>
              <a:ext uri="{FF2B5EF4-FFF2-40B4-BE49-F238E27FC236}">
                <a16:creationId xmlns:a16="http://schemas.microsoft.com/office/drawing/2014/main" id="{34BD50C9-3848-C7D9-E38A-A204C3D97F09}"/>
              </a:ext>
            </a:extLst>
          </p:cNvPr>
          <p:cNvGrpSpPr/>
          <p:nvPr/>
        </p:nvGrpSpPr>
        <p:grpSpPr>
          <a:xfrm>
            <a:off x="9063392" y="2473977"/>
            <a:ext cx="2720046" cy="607770"/>
            <a:chOff x="5957301" y="2473977"/>
            <a:chExt cx="2528695" cy="607770"/>
          </a:xfrm>
        </p:grpSpPr>
        <p:sp>
          <p:nvSpPr>
            <p:cNvPr id="6" name="Rectangle: Rounded Corners 9">
              <a:extLst>
                <a:ext uri="{FF2B5EF4-FFF2-40B4-BE49-F238E27FC236}">
                  <a16:creationId xmlns:a16="http://schemas.microsoft.com/office/drawing/2014/main" id="{1B2D8EDA-AF5F-AAED-CDA2-CA71B4E6F01F}"/>
                </a:ext>
              </a:extLst>
            </p:cNvPr>
            <p:cNvSpPr/>
            <p:nvPr/>
          </p:nvSpPr>
          <p:spPr>
            <a:xfrm>
              <a:off x="5957301" y="2473977"/>
              <a:ext cx="2528695" cy="607770"/>
            </a:xfrm>
            <a:prstGeom prst="roundRect">
              <a:avLst>
                <a:gd name="adj" fmla="val 9028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2800" dirty="0">
                <a:solidFill>
                  <a:schemeClr val="accent2"/>
                </a:solidFill>
              </a:endParaRPr>
            </a:p>
          </p:txBody>
        </p:sp>
        <p:sp>
          <p:nvSpPr>
            <p:cNvPr id="9" name="Content Placeholder 2">
              <a:extLst>
                <a:ext uri="{FF2B5EF4-FFF2-40B4-BE49-F238E27FC236}">
                  <a16:creationId xmlns:a16="http://schemas.microsoft.com/office/drawing/2014/main" id="{BB038989-113E-E7B5-482C-5DFF65F84369}"/>
                </a:ext>
              </a:extLst>
            </p:cNvPr>
            <p:cNvSpPr txBox="1">
              <a:spLocks/>
            </p:cNvSpPr>
            <p:nvPr/>
          </p:nvSpPr>
          <p:spPr>
            <a:xfrm>
              <a:off x="6038302" y="2701172"/>
              <a:ext cx="2366693" cy="22958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171496" indent="-171496" algn="l" defTabSz="685983" rtl="0" eaLnBrk="1" latinLnBrk="0" hangingPunct="1">
                <a:lnSpc>
                  <a:spcPct val="90000"/>
                </a:lnSpc>
                <a:spcBef>
                  <a:spcPts val="750"/>
                </a:spcBef>
                <a:buClr>
                  <a:srgbClr val="1F94D1"/>
                </a:buClr>
                <a:buFont typeface="Arial"/>
                <a:buChar char="•"/>
                <a:defRPr sz="2101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1pPr>
              <a:lvl2pPr marL="292100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Arial" panose="020B0604020202020204" pitchFamily="34" charset="0"/>
                <a:buChar char="–"/>
                <a:tabLst/>
                <a:defRPr sz="18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2pPr>
              <a:lvl3pPr marL="460375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60000"/>
                <a:buFont typeface="Arial" panose="020B0604020202020204" pitchFamily="34" charset="0"/>
                <a:buChar char="►"/>
                <a:tabLst/>
                <a:defRPr sz="150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3pPr>
              <a:lvl4pPr marL="573088" indent="-112713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Font typeface="Wingdings" panose="05000000000000000000" pitchFamily="2" charset="2"/>
                <a:buChar char="§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4pPr>
              <a:lvl5pPr marL="695325" indent="-122238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Clr>
                  <a:srgbClr val="1F94D1"/>
                </a:buClr>
                <a:buSzPct val="80000"/>
                <a:buFont typeface="Courier New" panose="02070309020205020404" pitchFamily="49" charset="0"/>
                <a:buChar char="o"/>
                <a:tabLst/>
                <a:defRPr sz="1350" kern="1200">
                  <a:solidFill>
                    <a:srgbClr val="00467B"/>
                  </a:solidFill>
                  <a:latin typeface="+mn-lt"/>
                  <a:ea typeface="+mn-ea"/>
                  <a:cs typeface="+mn-cs"/>
                </a:defRPr>
              </a:lvl5pPr>
              <a:lvl6pPr marL="1886453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9444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2436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5427" indent="-171496" algn="l" defTabSz="685983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 dirty="0">
                  <a:solidFill>
                    <a:schemeClr val="accent2"/>
                  </a:solidFill>
                  <a:cs typeface="Arial" panose="020B0604020202020204" pitchFamily="34" charset="0"/>
                </a:rPr>
                <a:t>WERKSESSIE(S)</a:t>
              </a:r>
            </a:p>
            <a:p>
              <a:pPr marL="0" indent="0" algn="ctr">
                <a:lnSpc>
                  <a:spcPct val="85000"/>
                </a:lnSpc>
                <a:spcBef>
                  <a:spcPts val="100"/>
                </a:spcBef>
                <a:buNone/>
              </a:pPr>
              <a:r>
                <a:rPr lang="nl-NL" sz="1800" dirty="0">
                  <a:solidFill>
                    <a:schemeClr val="accent2"/>
                  </a:solidFill>
                  <a:cs typeface="Arial" panose="020B0604020202020204" pitchFamily="34" charset="0"/>
                </a:rPr>
                <a:t>HR PROCESSEN</a:t>
              </a:r>
            </a:p>
          </p:txBody>
        </p:sp>
      </p:grpSp>
      <p:sp>
        <p:nvSpPr>
          <p:cNvPr id="12" name="TextBox 45">
            <a:extLst>
              <a:ext uri="{FF2B5EF4-FFF2-40B4-BE49-F238E27FC236}">
                <a16:creationId xmlns:a16="http://schemas.microsoft.com/office/drawing/2014/main" id="{944BC6DE-AAA7-42B3-C47E-9E8285886143}"/>
              </a:ext>
            </a:extLst>
          </p:cNvPr>
          <p:cNvSpPr txBox="1"/>
          <p:nvPr/>
        </p:nvSpPr>
        <p:spPr>
          <a:xfrm>
            <a:off x="9063392" y="3152541"/>
            <a:ext cx="2816610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200" dirty="0">
                <a:solidFill>
                  <a:schemeClr val="tx1"/>
                </a:solidFill>
              </a:rPr>
              <a:t>Wij organiseren één of meer werksessies met jullie multidisciplinaire team (HR, IT, operatie,…) waarin we: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/>
              <a:t>alle HR processen in kaart brengen </a:t>
            </a:r>
            <a:endParaRPr lang="nl-NL" sz="1200" dirty="0">
              <a:solidFill>
                <a:schemeClr val="tx1"/>
              </a:solidFill>
            </a:endParaRP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/>
              <a:t>g</a:t>
            </a:r>
            <a:r>
              <a:rPr lang="nl-NL" sz="1200" dirty="0">
                <a:solidFill>
                  <a:schemeClr val="tx1"/>
                </a:solidFill>
              </a:rPr>
              <a:t>eselecteerde HR processen uitwerken in detail procesflow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>
                <a:solidFill>
                  <a:schemeClr val="tx1"/>
                </a:solidFill>
              </a:rPr>
              <a:t>de gewenste medewerkerbeleving terug laten komen in de procesflows</a:t>
            </a:r>
          </a:p>
          <a:p>
            <a:pPr marL="285750" indent="-28575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nl-NL" sz="1200" dirty="0"/>
              <a:t>wow momenten toevoegen aan de procesflows</a:t>
            </a:r>
            <a:endParaRPr lang="nl-NL" sz="1200" dirty="0">
              <a:solidFill>
                <a:schemeClr val="tx1"/>
              </a:solidFill>
            </a:endParaRPr>
          </a:p>
          <a:p>
            <a:endParaRPr lang="nl-NL" sz="1100" dirty="0">
              <a:solidFill>
                <a:schemeClr val="accent2"/>
              </a:solidFill>
            </a:endParaRPr>
          </a:p>
        </p:txBody>
      </p:sp>
      <p:sp>
        <p:nvSpPr>
          <p:cNvPr id="17" name="Tekstvak 16">
            <a:extLst>
              <a:ext uri="{FF2B5EF4-FFF2-40B4-BE49-F238E27FC236}">
                <a16:creationId xmlns:a16="http://schemas.microsoft.com/office/drawing/2014/main" id="{54CA11FC-3A70-5DA0-11EC-65D12212FA02}"/>
              </a:ext>
            </a:extLst>
          </p:cNvPr>
          <p:cNvSpPr txBox="1"/>
          <p:nvPr/>
        </p:nvSpPr>
        <p:spPr>
          <a:xfrm>
            <a:off x="6766115" y="6228709"/>
            <a:ext cx="2973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dirty="0">
                <a:solidFill>
                  <a:schemeClr val="accent2"/>
                </a:solidFill>
              </a:rPr>
              <a:t>&amp;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7B8337F9-B4F1-D70F-6F33-42336A241678}"/>
              </a:ext>
            </a:extLst>
          </p:cNvPr>
          <p:cNvSpPr/>
          <p:nvPr/>
        </p:nvSpPr>
        <p:spPr>
          <a:xfrm>
            <a:off x="10159328" y="1832518"/>
            <a:ext cx="113378" cy="113376"/>
          </a:xfrm>
          <a:custGeom>
            <a:avLst/>
            <a:gdLst>
              <a:gd name="connsiteX0" fmla="*/ 72344 w 144695"/>
              <a:gd name="connsiteY0" fmla="*/ 144694 h 144693"/>
              <a:gd name="connsiteX1" fmla="*/ 139198 w 144695"/>
              <a:gd name="connsiteY1" fmla="*/ 100014 h 144693"/>
              <a:gd name="connsiteX2" fmla="*/ 123432 w 144695"/>
              <a:gd name="connsiteY2" fmla="*/ 21151 h 144693"/>
              <a:gd name="connsiteX3" fmla="*/ 44570 w 144695"/>
              <a:gd name="connsiteY3" fmla="*/ 5571 h 144693"/>
              <a:gd name="connsiteX4" fmla="*/ 0 w 144695"/>
              <a:gd name="connsiteY4" fmla="*/ 72499 h 144693"/>
              <a:gd name="connsiteX5" fmla="*/ 72343 w 144695"/>
              <a:gd name="connsiteY5" fmla="*/ 144694 h 144693"/>
              <a:gd name="connsiteX6" fmla="*/ 72344 w 144695"/>
              <a:gd name="connsiteY6" fmla="*/ 29625 h 144693"/>
              <a:gd name="connsiteX7" fmla="*/ 111941 w 144695"/>
              <a:gd name="connsiteY7" fmla="*/ 56108 h 144693"/>
              <a:gd name="connsiteX8" fmla="*/ 102658 w 144695"/>
              <a:gd name="connsiteY8" fmla="*/ 102814 h 144693"/>
              <a:gd name="connsiteX9" fmla="*/ 55953 w 144695"/>
              <a:gd name="connsiteY9" fmla="*/ 112097 h 144693"/>
              <a:gd name="connsiteX10" fmla="*/ 29469 w 144695"/>
              <a:gd name="connsiteY10" fmla="*/ 72500 h 144693"/>
              <a:gd name="connsiteX11" fmla="*/ 42029 w 144695"/>
              <a:gd name="connsiteY11" fmla="*/ 42186 h 144693"/>
              <a:gd name="connsiteX12" fmla="*/ 72343 w 144695"/>
              <a:gd name="connsiteY12" fmla="*/ 29626 h 144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4695" h="144693">
                <a:moveTo>
                  <a:pt x="72344" y="144694"/>
                </a:moveTo>
                <a:cubicBezTo>
                  <a:pt x="101628" y="144694"/>
                  <a:pt x="128000" y="127050"/>
                  <a:pt x="139198" y="100014"/>
                </a:cubicBezTo>
                <a:cubicBezTo>
                  <a:pt x="150395" y="72940"/>
                  <a:pt x="144170" y="41815"/>
                  <a:pt x="123432" y="21151"/>
                </a:cubicBezTo>
                <a:cubicBezTo>
                  <a:pt x="102732" y="450"/>
                  <a:pt x="71570" y="-5701"/>
                  <a:pt x="44570" y="5571"/>
                </a:cubicBezTo>
                <a:cubicBezTo>
                  <a:pt x="17534" y="16805"/>
                  <a:pt x="-73" y="43215"/>
                  <a:pt x="0" y="72499"/>
                </a:cubicBezTo>
                <a:cubicBezTo>
                  <a:pt x="74" y="112391"/>
                  <a:pt x="32451" y="144694"/>
                  <a:pt x="72343" y="144694"/>
                </a:cubicBezTo>
                <a:close/>
                <a:moveTo>
                  <a:pt x="72344" y="29625"/>
                </a:moveTo>
                <a:cubicBezTo>
                  <a:pt x="89693" y="29625"/>
                  <a:pt x="105311" y="40086"/>
                  <a:pt x="111941" y="56108"/>
                </a:cubicBezTo>
                <a:cubicBezTo>
                  <a:pt x="118607" y="72131"/>
                  <a:pt x="114924" y="90548"/>
                  <a:pt x="102658" y="102814"/>
                </a:cubicBezTo>
                <a:cubicBezTo>
                  <a:pt x="90392" y="115080"/>
                  <a:pt x="71975" y="118763"/>
                  <a:pt x="55953" y="112097"/>
                </a:cubicBezTo>
                <a:cubicBezTo>
                  <a:pt x="39930" y="105467"/>
                  <a:pt x="29469" y="89848"/>
                  <a:pt x="29469" y="72500"/>
                </a:cubicBezTo>
                <a:cubicBezTo>
                  <a:pt x="29469" y="61118"/>
                  <a:pt x="34000" y="50215"/>
                  <a:pt x="42029" y="42186"/>
                </a:cubicBezTo>
                <a:cubicBezTo>
                  <a:pt x="50059" y="34155"/>
                  <a:pt x="60962" y="29626"/>
                  <a:pt x="72343" y="29626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BE8CAD0C-2E68-BFEF-011B-226AF3316607}"/>
              </a:ext>
            </a:extLst>
          </p:cNvPr>
          <p:cNvSpPr/>
          <p:nvPr/>
        </p:nvSpPr>
        <p:spPr>
          <a:xfrm>
            <a:off x="10050573" y="1692372"/>
            <a:ext cx="642816" cy="669596"/>
          </a:xfrm>
          <a:custGeom>
            <a:avLst/>
            <a:gdLst>
              <a:gd name="connsiteX0" fmla="*/ 383673 w 820376"/>
              <a:gd name="connsiteY0" fmla="*/ 730052 h 854553"/>
              <a:gd name="connsiteX1" fmla="*/ 395754 w 820376"/>
              <a:gd name="connsiteY1" fmla="*/ 688945 h 854553"/>
              <a:gd name="connsiteX2" fmla="*/ 322086 w 820376"/>
              <a:gd name="connsiteY2" fmla="*/ 614097 h 854553"/>
              <a:gd name="connsiteX3" fmla="*/ 284810 w 820376"/>
              <a:gd name="connsiteY3" fmla="*/ 624558 h 854553"/>
              <a:gd name="connsiteX4" fmla="*/ 284810 w 820376"/>
              <a:gd name="connsiteY4" fmla="*/ 579326 h 854553"/>
              <a:gd name="connsiteX5" fmla="*/ 805643 w 820376"/>
              <a:gd name="connsiteY5" fmla="*/ 579326 h 854553"/>
              <a:gd name="connsiteX6" fmla="*/ 816067 w 820376"/>
              <a:gd name="connsiteY6" fmla="*/ 575016 h 854553"/>
              <a:gd name="connsiteX7" fmla="*/ 820377 w 820376"/>
              <a:gd name="connsiteY7" fmla="*/ 564592 h 854553"/>
              <a:gd name="connsiteX8" fmla="*/ 820377 w 820376"/>
              <a:gd name="connsiteY8" fmla="*/ 14734 h 854553"/>
              <a:gd name="connsiteX9" fmla="*/ 816067 w 820376"/>
              <a:gd name="connsiteY9" fmla="*/ 4310 h 854553"/>
              <a:gd name="connsiteX10" fmla="*/ 805643 w 820376"/>
              <a:gd name="connsiteY10" fmla="*/ 0 h 854553"/>
              <a:gd name="connsiteX11" fmla="*/ 64091 w 820376"/>
              <a:gd name="connsiteY11" fmla="*/ 0 h 854553"/>
              <a:gd name="connsiteX12" fmla="*/ 49358 w 820376"/>
              <a:gd name="connsiteY12" fmla="*/ 14734 h 854553"/>
              <a:gd name="connsiteX13" fmla="*/ 49358 w 820376"/>
              <a:gd name="connsiteY13" fmla="*/ 564591 h 854553"/>
              <a:gd name="connsiteX14" fmla="*/ 53667 w 820376"/>
              <a:gd name="connsiteY14" fmla="*/ 575015 h 854553"/>
              <a:gd name="connsiteX15" fmla="*/ 64091 w 820376"/>
              <a:gd name="connsiteY15" fmla="*/ 579326 h 854553"/>
              <a:gd name="connsiteX16" fmla="*/ 138792 w 820376"/>
              <a:gd name="connsiteY16" fmla="*/ 579326 h 854553"/>
              <a:gd name="connsiteX17" fmla="*/ 138792 w 820376"/>
              <a:gd name="connsiteY17" fmla="*/ 623527 h 854553"/>
              <a:gd name="connsiteX18" fmla="*/ 98863 w 820376"/>
              <a:gd name="connsiteY18" fmla="*/ 611446 h 854553"/>
              <a:gd name="connsiteX19" fmla="*/ 32856 w 820376"/>
              <a:gd name="connsiteY19" fmla="*/ 650711 h 854553"/>
              <a:gd name="connsiteX20" fmla="*/ 36540 w 820376"/>
              <a:gd name="connsiteY20" fmla="*/ 727400 h 854553"/>
              <a:gd name="connsiteX21" fmla="*/ 0 w 820376"/>
              <a:gd name="connsiteY21" fmla="*/ 795175 h 854553"/>
              <a:gd name="connsiteX22" fmla="*/ 0 w 820376"/>
              <a:gd name="connsiteY22" fmla="*/ 851606 h 854553"/>
              <a:gd name="connsiteX23" fmla="*/ 29467 w 820376"/>
              <a:gd name="connsiteY23" fmla="*/ 851606 h 854553"/>
              <a:gd name="connsiteX24" fmla="*/ 29467 w 820376"/>
              <a:gd name="connsiteY24" fmla="*/ 794881 h 854553"/>
              <a:gd name="connsiteX25" fmla="*/ 57903 w 820376"/>
              <a:gd name="connsiteY25" fmla="*/ 748470 h 854553"/>
              <a:gd name="connsiteX26" fmla="*/ 59671 w 820376"/>
              <a:gd name="connsiteY26" fmla="*/ 749500 h 854553"/>
              <a:gd name="connsiteX27" fmla="*/ 64091 w 820376"/>
              <a:gd name="connsiteY27" fmla="*/ 751858 h 854553"/>
              <a:gd name="connsiteX28" fmla="*/ 69838 w 820376"/>
              <a:gd name="connsiteY28" fmla="*/ 754510 h 854553"/>
              <a:gd name="connsiteX29" fmla="*/ 76468 w 820376"/>
              <a:gd name="connsiteY29" fmla="*/ 757015 h 854553"/>
              <a:gd name="connsiteX30" fmla="*/ 78972 w 820376"/>
              <a:gd name="connsiteY30" fmla="*/ 757015 h 854553"/>
              <a:gd name="connsiteX31" fmla="*/ 98863 w 820376"/>
              <a:gd name="connsiteY31" fmla="*/ 759962 h 854553"/>
              <a:gd name="connsiteX32" fmla="*/ 118607 w 820376"/>
              <a:gd name="connsiteY32" fmla="*/ 757015 h 854553"/>
              <a:gd name="connsiteX33" fmla="*/ 121111 w 820376"/>
              <a:gd name="connsiteY33" fmla="*/ 757015 h 854553"/>
              <a:gd name="connsiteX34" fmla="*/ 127889 w 820376"/>
              <a:gd name="connsiteY34" fmla="*/ 754510 h 854553"/>
              <a:gd name="connsiteX35" fmla="*/ 133488 w 820376"/>
              <a:gd name="connsiteY35" fmla="*/ 751858 h 854553"/>
              <a:gd name="connsiteX36" fmla="*/ 137908 w 820376"/>
              <a:gd name="connsiteY36" fmla="*/ 749500 h 854553"/>
              <a:gd name="connsiteX37" fmla="*/ 139676 w 820376"/>
              <a:gd name="connsiteY37" fmla="*/ 748470 h 854553"/>
              <a:gd name="connsiteX38" fmla="*/ 168112 w 820376"/>
              <a:gd name="connsiteY38" fmla="*/ 794881 h 854553"/>
              <a:gd name="connsiteX39" fmla="*/ 168112 w 820376"/>
              <a:gd name="connsiteY39" fmla="*/ 851606 h 854553"/>
              <a:gd name="connsiteX40" fmla="*/ 197579 w 820376"/>
              <a:gd name="connsiteY40" fmla="*/ 851606 h 854553"/>
              <a:gd name="connsiteX41" fmla="*/ 197579 w 820376"/>
              <a:gd name="connsiteY41" fmla="*/ 794881 h 854553"/>
              <a:gd name="connsiteX42" fmla="*/ 161040 w 820376"/>
              <a:gd name="connsiteY42" fmla="*/ 727106 h 854553"/>
              <a:gd name="connsiteX43" fmla="*/ 173416 w 820376"/>
              <a:gd name="connsiteY43" fmla="*/ 688209 h 854553"/>
              <a:gd name="connsiteX44" fmla="*/ 247085 w 820376"/>
              <a:gd name="connsiteY44" fmla="*/ 688209 h 854553"/>
              <a:gd name="connsiteX45" fmla="*/ 259608 w 820376"/>
              <a:gd name="connsiteY45" fmla="*/ 729316 h 854553"/>
              <a:gd name="connsiteX46" fmla="*/ 223069 w 820376"/>
              <a:gd name="connsiteY46" fmla="*/ 797091 h 854553"/>
              <a:gd name="connsiteX47" fmla="*/ 223069 w 820376"/>
              <a:gd name="connsiteY47" fmla="*/ 854553 h 854553"/>
              <a:gd name="connsiteX48" fmla="*/ 252536 w 820376"/>
              <a:gd name="connsiteY48" fmla="*/ 854553 h 854553"/>
              <a:gd name="connsiteX49" fmla="*/ 252536 w 820376"/>
              <a:gd name="connsiteY49" fmla="*/ 797829 h 854553"/>
              <a:gd name="connsiteX50" fmla="*/ 280825 w 820376"/>
              <a:gd name="connsiteY50" fmla="*/ 751417 h 854553"/>
              <a:gd name="connsiteX51" fmla="*/ 282593 w 820376"/>
              <a:gd name="connsiteY51" fmla="*/ 752448 h 854553"/>
              <a:gd name="connsiteX52" fmla="*/ 287012 w 820376"/>
              <a:gd name="connsiteY52" fmla="*/ 754805 h 854553"/>
              <a:gd name="connsiteX53" fmla="*/ 292759 w 820376"/>
              <a:gd name="connsiteY53" fmla="*/ 757458 h 854553"/>
              <a:gd name="connsiteX54" fmla="*/ 299389 w 820376"/>
              <a:gd name="connsiteY54" fmla="*/ 759963 h 854553"/>
              <a:gd name="connsiteX55" fmla="*/ 302041 w 820376"/>
              <a:gd name="connsiteY55" fmla="*/ 760699 h 854553"/>
              <a:gd name="connsiteX56" fmla="*/ 341528 w 820376"/>
              <a:gd name="connsiteY56" fmla="*/ 760699 h 854553"/>
              <a:gd name="connsiteX57" fmla="*/ 344179 w 820376"/>
              <a:gd name="connsiteY57" fmla="*/ 759963 h 854553"/>
              <a:gd name="connsiteX58" fmla="*/ 350810 w 820376"/>
              <a:gd name="connsiteY58" fmla="*/ 757458 h 854553"/>
              <a:gd name="connsiteX59" fmla="*/ 356408 w 820376"/>
              <a:gd name="connsiteY59" fmla="*/ 754805 h 854553"/>
              <a:gd name="connsiteX60" fmla="*/ 360976 w 820376"/>
              <a:gd name="connsiteY60" fmla="*/ 752448 h 854553"/>
              <a:gd name="connsiteX61" fmla="*/ 362744 w 820376"/>
              <a:gd name="connsiteY61" fmla="*/ 751417 h 854553"/>
              <a:gd name="connsiteX62" fmla="*/ 391033 w 820376"/>
              <a:gd name="connsiteY62" fmla="*/ 797829 h 854553"/>
              <a:gd name="connsiteX63" fmla="*/ 391033 w 820376"/>
              <a:gd name="connsiteY63" fmla="*/ 854553 h 854553"/>
              <a:gd name="connsiteX64" fmla="*/ 420500 w 820376"/>
              <a:gd name="connsiteY64" fmla="*/ 854553 h 854553"/>
              <a:gd name="connsiteX65" fmla="*/ 420500 w 820376"/>
              <a:gd name="connsiteY65" fmla="*/ 797829 h 854553"/>
              <a:gd name="connsiteX66" fmla="*/ 383667 w 820376"/>
              <a:gd name="connsiteY66" fmla="*/ 730054 h 854553"/>
              <a:gd name="connsiteX67" fmla="*/ 322087 w 820376"/>
              <a:gd name="connsiteY67" fmla="*/ 643565 h 854553"/>
              <a:gd name="connsiteX68" fmla="*/ 364630 w 820376"/>
              <a:gd name="connsiteY68" fmla="*/ 673216 h 854553"/>
              <a:gd name="connsiteX69" fmla="*/ 351554 w 820376"/>
              <a:gd name="connsiteY69" fmla="*/ 723421 h 854553"/>
              <a:gd name="connsiteX70" fmla="*/ 292619 w 820376"/>
              <a:gd name="connsiteY70" fmla="*/ 723421 h 854553"/>
              <a:gd name="connsiteX71" fmla="*/ 279543 w 820376"/>
              <a:gd name="connsiteY71" fmla="*/ 673216 h 854553"/>
              <a:gd name="connsiteX72" fmla="*/ 322087 w 820376"/>
              <a:gd name="connsiteY72" fmla="*/ 643565 h 854553"/>
              <a:gd name="connsiteX73" fmla="*/ 78832 w 820376"/>
              <a:gd name="connsiteY73" fmla="*/ 549858 h 854553"/>
              <a:gd name="connsiteX74" fmla="*/ 78832 w 820376"/>
              <a:gd name="connsiteY74" fmla="*/ 29459 h 854553"/>
              <a:gd name="connsiteX75" fmla="*/ 790916 w 820376"/>
              <a:gd name="connsiteY75" fmla="*/ 29459 h 854553"/>
              <a:gd name="connsiteX76" fmla="*/ 790916 w 820376"/>
              <a:gd name="connsiteY76" fmla="*/ 549858 h 854553"/>
              <a:gd name="connsiteX77" fmla="*/ 284962 w 820376"/>
              <a:gd name="connsiteY77" fmla="*/ 549858 h 854553"/>
              <a:gd name="connsiteX78" fmla="*/ 284962 w 820376"/>
              <a:gd name="connsiteY78" fmla="*/ 509046 h 854553"/>
              <a:gd name="connsiteX79" fmla="*/ 293656 w 820376"/>
              <a:gd name="connsiteY79" fmla="*/ 510078 h 854553"/>
              <a:gd name="connsiteX80" fmla="*/ 330637 w 820376"/>
              <a:gd name="connsiteY80" fmla="*/ 472949 h 854553"/>
              <a:gd name="connsiteX81" fmla="*/ 330637 w 820376"/>
              <a:gd name="connsiteY81" fmla="*/ 384546 h 854553"/>
              <a:gd name="connsiteX82" fmla="*/ 315241 w 820376"/>
              <a:gd name="connsiteY82" fmla="*/ 347085 h 854553"/>
              <a:gd name="connsiteX83" fmla="*/ 277891 w 820376"/>
              <a:gd name="connsiteY83" fmla="*/ 331505 h 854553"/>
              <a:gd name="connsiteX84" fmla="*/ 271261 w 820376"/>
              <a:gd name="connsiteY84" fmla="*/ 331505 h 854553"/>
              <a:gd name="connsiteX85" fmla="*/ 267872 w 820376"/>
              <a:gd name="connsiteY85" fmla="*/ 331505 h 854553"/>
              <a:gd name="connsiteX86" fmla="*/ 152945 w 820376"/>
              <a:gd name="connsiteY86" fmla="*/ 331505 h 854553"/>
              <a:gd name="connsiteX87" fmla="*/ 106349 w 820376"/>
              <a:gd name="connsiteY87" fmla="*/ 350770 h 854553"/>
              <a:gd name="connsiteX88" fmla="*/ 87085 w 820376"/>
              <a:gd name="connsiteY88" fmla="*/ 397365 h 854553"/>
              <a:gd name="connsiteX89" fmla="*/ 87085 w 820376"/>
              <a:gd name="connsiteY89" fmla="*/ 474127 h 854553"/>
              <a:gd name="connsiteX90" fmla="*/ 127454 w 820376"/>
              <a:gd name="connsiteY90" fmla="*/ 514350 h 854553"/>
              <a:gd name="connsiteX91" fmla="*/ 138210 w 820376"/>
              <a:gd name="connsiteY91" fmla="*/ 512876 h 854553"/>
              <a:gd name="connsiteX92" fmla="*/ 138210 w 820376"/>
              <a:gd name="connsiteY92" fmla="*/ 548827 h 854553"/>
              <a:gd name="connsiteX93" fmla="*/ 98870 w 820376"/>
              <a:gd name="connsiteY93" fmla="*/ 640912 h 854553"/>
              <a:gd name="connsiteX94" fmla="*/ 139977 w 820376"/>
              <a:gd name="connsiteY94" fmla="*/ 667580 h 854553"/>
              <a:gd name="connsiteX95" fmla="*/ 143955 w 820376"/>
              <a:gd name="connsiteY95" fmla="*/ 685850 h 854553"/>
              <a:gd name="connsiteX96" fmla="*/ 127896 w 820376"/>
              <a:gd name="connsiteY96" fmla="*/ 720326 h 854553"/>
              <a:gd name="connsiteX97" fmla="*/ 83695 w 820376"/>
              <a:gd name="connsiteY97" fmla="*/ 728135 h 854553"/>
              <a:gd name="connsiteX98" fmla="*/ 69992 w 820376"/>
              <a:gd name="connsiteY98" fmla="*/ 720179 h 854553"/>
              <a:gd name="connsiteX99" fmla="*/ 53933 w 820376"/>
              <a:gd name="connsiteY99" fmla="*/ 685850 h 854553"/>
              <a:gd name="connsiteX100" fmla="*/ 98871 w 820376"/>
              <a:gd name="connsiteY100" fmla="*/ 640912 h 854553"/>
              <a:gd name="connsiteX101" fmla="*/ 227197 w 820376"/>
              <a:gd name="connsiteY101" fmla="*/ 659035 h 854553"/>
              <a:gd name="connsiteX102" fmla="*/ 227197 w 820376"/>
              <a:gd name="connsiteY102" fmla="*/ 554725 h 854553"/>
              <a:gd name="connsiteX103" fmla="*/ 212463 w 820376"/>
              <a:gd name="connsiteY103" fmla="*/ 539991 h 854553"/>
              <a:gd name="connsiteX104" fmla="*/ 197729 w 820376"/>
              <a:gd name="connsiteY104" fmla="*/ 554725 h 854553"/>
              <a:gd name="connsiteX105" fmla="*/ 197729 w 820376"/>
              <a:gd name="connsiteY105" fmla="*/ 658601 h 854553"/>
              <a:gd name="connsiteX106" fmla="*/ 168262 w 820376"/>
              <a:gd name="connsiteY106" fmla="*/ 658601 h 854553"/>
              <a:gd name="connsiteX107" fmla="*/ 168262 w 820376"/>
              <a:gd name="connsiteY107" fmla="*/ 406209 h 854553"/>
              <a:gd name="connsiteX108" fmla="*/ 153528 w 820376"/>
              <a:gd name="connsiteY108" fmla="*/ 391475 h 854553"/>
              <a:gd name="connsiteX109" fmla="*/ 138794 w 820376"/>
              <a:gd name="connsiteY109" fmla="*/ 406209 h 854553"/>
              <a:gd name="connsiteX110" fmla="*/ 138794 w 820376"/>
              <a:gd name="connsiteY110" fmla="*/ 475016 h 854553"/>
              <a:gd name="connsiteX111" fmla="*/ 135627 w 820376"/>
              <a:gd name="connsiteY111" fmla="*/ 482604 h 854553"/>
              <a:gd name="connsiteX112" fmla="*/ 128039 w 820376"/>
              <a:gd name="connsiteY112" fmla="*/ 485771 h 854553"/>
              <a:gd name="connsiteX113" fmla="*/ 117137 w 820376"/>
              <a:gd name="connsiteY113" fmla="*/ 475016 h 854553"/>
              <a:gd name="connsiteX114" fmla="*/ 117137 w 820376"/>
              <a:gd name="connsiteY114" fmla="*/ 398400 h 854553"/>
              <a:gd name="connsiteX115" fmla="*/ 127745 w 820376"/>
              <a:gd name="connsiteY115" fmla="*/ 372616 h 854553"/>
              <a:gd name="connsiteX116" fmla="*/ 153529 w 820376"/>
              <a:gd name="connsiteY116" fmla="*/ 362008 h 854553"/>
              <a:gd name="connsiteX117" fmla="*/ 271399 w 820376"/>
              <a:gd name="connsiteY117" fmla="*/ 362008 h 854553"/>
              <a:gd name="connsiteX118" fmla="*/ 274935 w 820376"/>
              <a:gd name="connsiteY118" fmla="*/ 362008 h 854553"/>
              <a:gd name="connsiteX119" fmla="*/ 277882 w 820376"/>
              <a:gd name="connsiteY119" fmla="*/ 362008 h 854553"/>
              <a:gd name="connsiteX120" fmla="*/ 294420 w 820376"/>
              <a:gd name="connsiteY120" fmla="*/ 368749 h 854553"/>
              <a:gd name="connsiteX121" fmla="*/ 301161 w 820376"/>
              <a:gd name="connsiteY121" fmla="*/ 385288 h 854553"/>
              <a:gd name="connsiteX122" fmla="*/ 301161 w 820376"/>
              <a:gd name="connsiteY122" fmla="*/ 473690 h 854553"/>
              <a:gd name="connsiteX123" fmla="*/ 299908 w 820376"/>
              <a:gd name="connsiteY123" fmla="*/ 480393 h 854553"/>
              <a:gd name="connsiteX124" fmla="*/ 293794 w 820376"/>
              <a:gd name="connsiteY124" fmla="*/ 483450 h 854553"/>
              <a:gd name="connsiteX125" fmla="*/ 287679 w 820376"/>
              <a:gd name="connsiteY125" fmla="*/ 480393 h 854553"/>
              <a:gd name="connsiteX126" fmla="*/ 286427 w 820376"/>
              <a:gd name="connsiteY126" fmla="*/ 473690 h 854553"/>
              <a:gd name="connsiteX127" fmla="*/ 286427 w 820376"/>
              <a:gd name="connsiteY127" fmla="*/ 406210 h 854553"/>
              <a:gd name="connsiteX128" fmla="*/ 282117 w 820376"/>
              <a:gd name="connsiteY128" fmla="*/ 395786 h 854553"/>
              <a:gd name="connsiteX129" fmla="*/ 271693 w 820376"/>
              <a:gd name="connsiteY129" fmla="*/ 391475 h 854553"/>
              <a:gd name="connsiteX130" fmla="*/ 256959 w 820376"/>
              <a:gd name="connsiteY130" fmla="*/ 406209 h 854553"/>
              <a:gd name="connsiteX131" fmla="*/ 255191 w 820376"/>
              <a:gd name="connsiteY131" fmla="*/ 564739 h 854553"/>
              <a:gd name="connsiteX132" fmla="*/ 254160 w 820376"/>
              <a:gd name="connsiteY132" fmla="*/ 656825 h 854553"/>
              <a:gd name="connsiteX133" fmla="*/ 253128 w 820376"/>
              <a:gd name="connsiteY133" fmla="*/ 658888 h 854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820376" h="854553">
                <a:moveTo>
                  <a:pt x="383673" y="730052"/>
                </a:moveTo>
                <a:cubicBezTo>
                  <a:pt x="391667" y="717859"/>
                  <a:pt x="395902" y="703531"/>
                  <a:pt x="395754" y="688945"/>
                </a:cubicBezTo>
                <a:cubicBezTo>
                  <a:pt x="395754" y="648059"/>
                  <a:pt x="362971" y="614723"/>
                  <a:pt x="322086" y="614097"/>
                </a:cubicBezTo>
                <a:cubicBezTo>
                  <a:pt x="308936" y="614208"/>
                  <a:pt x="296081" y="617817"/>
                  <a:pt x="284810" y="624558"/>
                </a:cubicBezTo>
                <a:lnTo>
                  <a:pt x="284810" y="579326"/>
                </a:lnTo>
                <a:lnTo>
                  <a:pt x="805643" y="579326"/>
                </a:lnTo>
                <a:cubicBezTo>
                  <a:pt x="809548" y="579326"/>
                  <a:pt x="813305" y="577778"/>
                  <a:pt x="816067" y="575016"/>
                </a:cubicBezTo>
                <a:cubicBezTo>
                  <a:pt x="818830" y="572253"/>
                  <a:pt x="820377" y="568497"/>
                  <a:pt x="820377" y="564592"/>
                </a:cubicBezTo>
                <a:lnTo>
                  <a:pt x="820377" y="14734"/>
                </a:lnTo>
                <a:cubicBezTo>
                  <a:pt x="820377" y="10830"/>
                  <a:pt x="818830" y="7072"/>
                  <a:pt x="816067" y="4310"/>
                </a:cubicBezTo>
                <a:cubicBezTo>
                  <a:pt x="813305" y="1547"/>
                  <a:pt x="809548" y="0"/>
                  <a:pt x="805643" y="0"/>
                </a:cubicBezTo>
                <a:lnTo>
                  <a:pt x="64091" y="0"/>
                </a:lnTo>
                <a:cubicBezTo>
                  <a:pt x="55951" y="0"/>
                  <a:pt x="49358" y="6593"/>
                  <a:pt x="49358" y="14734"/>
                </a:cubicBezTo>
                <a:lnTo>
                  <a:pt x="49358" y="564591"/>
                </a:lnTo>
                <a:cubicBezTo>
                  <a:pt x="49358" y="568496"/>
                  <a:pt x="50905" y="572253"/>
                  <a:pt x="53667" y="575015"/>
                </a:cubicBezTo>
                <a:cubicBezTo>
                  <a:pt x="56430" y="577778"/>
                  <a:pt x="60187" y="579326"/>
                  <a:pt x="64091" y="579326"/>
                </a:cubicBezTo>
                <a:lnTo>
                  <a:pt x="138792" y="579326"/>
                </a:lnTo>
                <a:lnTo>
                  <a:pt x="138792" y="623527"/>
                </a:lnTo>
                <a:cubicBezTo>
                  <a:pt x="126931" y="615680"/>
                  <a:pt x="113081" y="611482"/>
                  <a:pt x="98863" y="611446"/>
                </a:cubicBezTo>
                <a:cubicBezTo>
                  <a:pt x="71311" y="611335"/>
                  <a:pt x="45932" y="626437"/>
                  <a:pt x="32856" y="650711"/>
                </a:cubicBezTo>
                <a:cubicBezTo>
                  <a:pt x="19817" y="674985"/>
                  <a:pt x="21216" y="704489"/>
                  <a:pt x="36540" y="727400"/>
                </a:cubicBezTo>
                <a:cubicBezTo>
                  <a:pt x="13812" y="742503"/>
                  <a:pt x="110" y="767918"/>
                  <a:pt x="0" y="795175"/>
                </a:cubicBezTo>
                <a:lnTo>
                  <a:pt x="0" y="851606"/>
                </a:lnTo>
                <a:lnTo>
                  <a:pt x="29467" y="851606"/>
                </a:lnTo>
                <a:lnTo>
                  <a:pt x="29467" y="794881"/>
                </a:lnTo>
                <a:cubicBezTo>
                  <a:pt x="29504" y="775322"/>
                  <a:pt x="40481" y="757384"/>
                  <a:pt x="57903" y="748470"/>
                </a:cubicBezTo>
                <a:lnTo>
                  <a:pt x="59671" y="749500"/>
                </a:lnTo>
                <a:lnTo>
                  <a:pt x="64091" y="751858"/>
                </a:lnTo>
                <a:cubicBezTo>
                  <a:pt x="65933" y="752926"/>
                  <a:pt x="67848" y="753811"/>
                  <a:pt x="69838" y="754510"/>
                </a:cubicBezTo>
                <a:cubicBezTo>
                  <a:pt x="71974" y="755505"/>
                  <a:pt x="74184" y="756352"/>
                  <a:pt x="76468" y="757015"/>
                </a:cubicBezTo>
                <a:lnTo>
                  <a:pt x="78972" y="757015"/>
                </a:lnTo>
                <a:cubicBezTo>
                  <a:pt x="85455" y="758893"/>
                  <a:pt x="92122" y="759888"/>
                  <a:pt x="98863" y="759962"/>
                </a:cubicBezTo>
                <a:cubicBezTo>
                  <a:pt x="105531" y="759888"/>
                  <a:pt x="112197" y="758893"/>
                  <a:pt x="118607" y="757015"/>
                </a:cubicBezTo>
                <a:lnTo>
                  <a:pt x="121111" y="757015"/>
                </a:lnTo>
                <a:cubicBezTo>
                  <a:pt x="123432" y="756352"/>
                  <a:pt x="125679" y="755505"/>
                  <a:pt x="127889" y="754510"/>
                </a:cubicBezTo>
                <a:cubicBezTo>
                  <a:pt x="129841" y="753774"/>
                  <a:pt x="131683" y="752889"/>
                  <a:pt x="133488" y="751858"/>
                </a:cubicBezTo>
                <a:lnTo>
                  <a:pt x="137908" y="749500"/>
                </a:lnTo>
                <a:cubicBezTo>
                  <a:pt x="137908" y="749500"/>
                  <a:pt x="139234" y="749500"/>
                  <a:pt x="139676" y="748470"/>
                </a:cubicBezTo>
                <a:cubicBezTo>
                  <a:pt x="157099" y="757384"/>
                  <a:pt x="168075" y="775322"/>
                  <a:pt x="168112" y="794881"/>
                </a:cubicBezTo>
                <a:lnTo>
                  <a:pt x="168112" y="851606"/>
                </a:lnTo>
                <a:lnTo>
                  <a:pt x="197579" y="851606"/>
                </a:lnTo>
                <a:lnTo>
                  <a:pt x="197579" y="794881"/>
                </a:lnTo>
                <a:cubicBezTo>
                  <a:pt x="197506" y="767587"/>
                  <a:pt x="183804" y="742172"/>
                  <a:pt x="161040" y="727106"/>
                </a:cubicBezTo>
                <a:cubicBezTo>
                  <a:pt x="168738" y="715577"/>
                  <a:pt x="173047" y="702096"/>
                  <a:pt x="173416" y="688209"/>
                </a:cubicBezTo>
                <a:lnTo>
                  <a:pt x="247085" y="688209"/>
                </a:lnTo>
                <a:cubicBezTo>
                  <a:pt x="247085" y="702869"/>
                  <a:pt x="251431" y="717161"/>
                  <a:pt x="259608" y="729316"/>
                </a:cubicBezTo>
                <a:cubicBezTo>
                  <a:pt x="236881" y="744382"/>
                  <a:pt x="223142" y="769798"/>
                  <a:pt x="223069" y="797091"/>
                </a:cubicBezTo>
                <a:lnTo>
                  <a:pt x="223069" y="854553"/>
                </a:lnTo>
                <a:lnTo>
                  <a:pt x="252536" y="854553"/>
                </a:lnTo>
                <a:lnTo>
                  <a:pt x="252536" y="797829"/>
                </a:lnTo>
                <a:cubicBezTo>
                  <a:pt x="252536" y="778270"/>
                  <a:pt x="263438" y="760368"/>
                  <a:pt x="280825" y="751417"/>
                </a:cubicBezTo>
                <a:cubicBezTo>
                  <a:pt x="280825" y="751417"/>
                  <a:pt x="282150" y="751417"/>
                  <a:pt x="282593" y="752448"/>
                </a:cubicBezTo>
                <a:lnTo>
                  <a:pt x="287012" y="754805"/>
                </a:lnTo>
                <a:cubicBezTo>
                  <a:pt x="288855" y="755800"/>
                  <a:pt x="290807" y="756685"/>
                  <a:pt x="292759" y="757458"/>
                </a:cubicBezTo>
                <a:cubicBezTo>
                  <a:pt x="294932" y="758416"/>
                  <a:pt x="297143" y="759263"/>
                  <a:pt x="299389" y="759963"/>
                </a:cubicBezTo>
                <a:lnTo>
                  <a:pt x="302041" y="760699"/>
                </a:lnTo>
                <a:cubicBezTo>
                  <a:pt x="314897" y="764641"/>
                  <a:pt x="328672" y="764641"/>
                  <a:pt x="341528" y="760699"/>
                </a:cubicBezTo>
                <a:lnTo>
                  <a:pt x="344179" y="759963"/>
                </a:lnTo>
                <a:cubicBezTo>
                  <a:pt x="346426" y="759263"/>
                  <a:pt x="348637" y="758416"/>
                  <a:pt x="350810" y="757458"/>
                </a:cubicBezTo>
                <a:cubicBezTo>
                  <a:pt x="352762" y="756722"/>
                  <a:pt x="354604" y="755837"/>
                  <a:pt x="356408" y="754805"/>
                </a:cubicBezTo>
                <a:lnTo>
                  <a:pt x="360976" y="752448"/>
                </a:lnTo>
                <a:lnTo>
                  <a:pt x="362744" y="751417"/>
                </a:lnTo>
                <a:cubicBezTo>
                  <a:pt x="380130" y="760368"/>
                  <a:pt x="391033" y="778270"/>
                  <a:pt x="391033" y="797829"/>
                </a:cubicBezTo>
                <a:lnTo>
                  <a:pt x="391033" y="854553"/>
                </a:lnTo>
                <a:lnTo>
                  <a:pt x="420500" y="854553"/>
                </a:lnTo>
                <a:lnTo>
                  <a:pt x="420500" y="797829"/>
                </a:lnTo>
                <a:cubicBezTo>
                  <a:pt x="420353" y="770498"/>
                  <a:pt x="406503" y="745045"/>
                  <a:pt x="383667" y="730054"/>
                </a:cubicBezTo>
                <a:close/>
                <a:moveTo>
                  <a:pt x="322087" y="643565"/>
                </a:moveTo>
                <a:cubicBezTo>
                  <a:pt x="341093" y="643565"/>
                  <a:pt x="358037" y="655425"/>
                  <a:pt x="364630" y="673216"/>
                </a:cubicBezTo>
                <a:cubicBezTo>
                  <a:pt x="371186" y="691044"/>
                  <a:pt x="365993" y="711081"/>
                  <a:pt x="351554" y="723421"/>
                </a:cubicBezTo>
                <a:cubicBezTo>
                  <a:pt x="334463" y="737602"/>
                  <a:pt x="309710" y="737602"/>
                  <a:pt x="292619" y="723421"/>
                </a:cubicBezTo>
                <a:cubicBezTo>
                  <a:pt x="278181" y="711081"/>
                  <a:pt x="272987" y="691044"/>
                  <a:pt x="279543" y="673216"/>
                </a:cubicBezTo>
                <a:cubicBezTo>
                  <a:pt x="286136" y="655425"/>
                  <a:pt x="303080" y="643565"/>
                  <a:pt x="322087" y="643565"/>
                </a:cubicBezTo>
                <a:close/>
                <a:moveTo>
                  <a:pt x="78832" y="549858"/>
                </a:moveTo>
                <a:lnTo>
                  <a:pt x="78832" y="29459"/>
                </a:lnTo>
                <a:lnTo>
                  <a:pt x="790916" y="29459"/>
                </a:lnTo>
                <a:lnTo>
                  <a:pt x="790916" y="549858"/>
                </a:lnTo>
                <a:lnTo>
                  <a:pt x="284962" y="549858"/>
                </a:lnTo>
                <a:lnTo>
                  <a:pt x="284962" y="509046"/>
                </a:lnTo>
                <a:cubicBezTo>
                  <a:pt x="287799" y="509709"/>
                  <a:pt x="290746" y="510041"/>
                  <a:pt x="293656" y="510078"/>
                </a:cubicBezTo>
                <a:cubicBezTo>
                  <a:pt x="314099" y="510004"/>
                  <a:pt x="330637" y="493392"/>
                  <a:pt x="330637" y="472949"/>
                </a:cubicBezTo>
                <a:lnTo>
                  <a:pt x="330637" y="384546"/>
                </a:lnTo>
                <a:cubicBezTo>
                  <a:pt x="330674" y="370512"/>
                  <a:pt x="325149" y="357031"/>
                  <a:pt x="315241" y="347085"/>
                </a:cubicBezTo>
                <a:cubicBezTo>
                  <a:pt x="305369" y="337140"/>
                  <a:pt x="291924" y="331542"/>
                  <a:pt x="277891" y="331505"/>
                </a:cubicBezTo>
                <a:lnTo>
                  <a:pt x="271261" y="331505"/>
                </a:lnTo>
                <a:cubicBezTo>
                  <a:pt x="270119" y="331358"/>
                  <a:pt x="269014" y="331358"/>
                  <a:pt x="267872" y="331505"/>
                </a:cubicBezTo>
                <a:lnTo>
                  <a:pt x="152945" y="331505"/>
                </a:lnTo>
                <a:cubicBezTo>
                  <a:pt x="135448" y="331468"/>
                  <a:pt x="118689" y="338393"/>
                  <a:pt x="106349" y="350770"/>
                </a:cubicBezTo>
                <a:cubicBezTo>
                  <a:pt x="93973" y="363109"/>
                  <a:pt x="87048" y="379868"/>
                  <a:pt x="87085" y="397365"/>
                </a:cubicBezTo>
                <a:lnTo>
                  <a:pt x="87085" y="474127"/>
                </a:lnTo>
                <a:cubicBezTo>
                  <a:pt x="87158" y="496376"/>
                  <a:pt x="105207" y="514350"/>
                  <a:pt x="127454" y="514350"/>
                </a:cubicBezTo>
                <a:cubicBezTo>
                  <a:pt x="131101" y="514313"/>
                  <a:pt x="134711" y="513834"/>
                  <a:pt x="138210" y="512876"/>
                </a:cubicBezTo>
                <a:lnTo>
                  <a:pt x="138210" y="548827"/>
                </a:lnTo>
                <a:close/>
                <a:moveTo>
                  <a:pt x="98870" y="640912"/>
                </a:moveTo>
                <a:cubicBezTo>
                  <a:pt x="116624" y="640949"/>
                  <a:pt x="132683" y="651410"/>
                  <a:pt x="139977" y="667580"/>
                </a:cubicBezTo>
                <a:cubicBezTo>
                  <a:pt x="142592" y="673326"/>
                  <a:pt x="143955" y="679551"/>
                  <a:pt x="143955" y="685850"/>
                </a:cubicBezTo>
                <a:cubicBezTo>
                  <a:pt x="143918" y="699147"/>
                  <a:pt x="138025" y="711744"/>
                  <a:pt x="127896" y="720326"/>
                </a:cubicBezTo>
                <a:cubicBezTo>
                  <a:pt x="115483" y="730345"/>
                  <a:pt x="98797" y="733292"/>
                  <a:pt x="83695" y="728135"/>
                </a:cubicBezTo>
                <a:cubicBezTo>
                  <a:pt x="78648" y="726404"/>
                  <a:pt x="74008" y="723678"/>
                  <a:pt x="69992" y="720179"/>
                </a:cubicBezTo>
                <a:cubicBezTo>
                  <a:pt x="59753" y="711743"/>
                  <a:pt x="53859" y="699110"/>
                  <a:pt x="53933" y="685850"/>
                </a:cubicBezTo>
                <a:cubicBezTo>
                  <a:pt x="54191" y="661134"/>
                  <a:pt x="74155" y="641170"/>
                  <a:pt x="98871" y="640912"/>
                </a:cubicBezTo>
                <a:close/>
                <a:moveTo>
                  <a:pt x="227197" y="659035"/>
                </a:moveTo>
                <a:lnTo>
                  <a:pt x="227197" y="554725"/>
                </a:lnTo>
                <a:cubicBezTo>
                  <a:pt x="227197" y="546584"/>
                  <a:pt x="220604" y="539991"/>
                  <a:pt x="212463" y="539991"/>
                </a:cubicBezTo>
                <a:cubicBezTo>
                  <a:pt x="204323" y="539991"/>
                  <a:pt x="197729" y="546584"/>
                  <a:pt x="197729" y="554725"/>
                </a:cubicBezTo>
                <a:lnTo>
                  <a:pt x="197729" y="658601"/>
                </a:lnTo>
                <a:lnTo>
                  <a:pt x="168262" y="658601"/>
                </a:lnTo>
                <a:lnTo>
                  <a:pt x="168262" y="406209"/>
                </a:lnTo>
                <a:cubicBezTo>
                  <a:pt x="168262" y="398068"/>
                  <a:pt x="161669" y="391475"/>
                  <a:pt x="153528" y="391475"/>
                </a:cubicBezTo>
                <a:cubicBezTo>
                  <a:pt x="145388" y="391475"/>
                  <a:pt x="138794" y="398068"/>
                  <a:pt x="138794" y="406209"/>
                </a:cubicBezTo>
                <a:lnTo>
                  <a:pt x="138794" y="475016"/>
                </a:lnTo>
                <a:cubicBezTo>
                  <a:pt x="138794" y="477852"/>
                  <a:pt x="137653" y="480615"/>
                  <a:pt x="135627" y="482604"/>
                </a:cubicBezTo>
                <a:cubicBezTo>
                  <a:pt x="133637" y="484629"/>
                  <a:pt x="130876" y="485771"/>
                  <a:pt x="128039" y="485771"/>
                </a:cubicBezTo>
                <a:cubicBezTo>
                  <a:pt x="122109" y="485697"/>
                  <a:pt x="117284" y="480946"/>
                  <a:pt x="117137" y="475016"/>
                </a:cubicBezTo>
                <a:lnTo>
                  <a:pt x="117137" y="398400"/>
                </a:lnTo>
                <a:cubicBezTo>
                  <a:pt x="117100" y="388750"/>
                  <a:pt x="120930" y="379468"/>
                  <a:pt x="127745" y="372616"/>
                </a:cubicBezTo>
                <a:cubicBezTo>
                  <a:pt x="134595" y="365802"/>
                  <a:pt x="143878" y="361971"/>
                  <a:pt x="153529" y="362008"/>
                </a:cubicBezTo>
                <a:lnTo>
                  <a:pt x="271399" y="362008"/>
                </a:lnTo>
                <a:cubicBezTo>
                  <a:pt x="272578" y="362156"/>
                  <a:pt x="273756" y="362156"/>
                  <a:pt x="274935" y="362008"/>
                </a:cubicBezTo>
                <a:lnTo>
                  <a:pt x="277882" y="362008"/>
                </a:lnTo>
                <a:cubicBezTo>
                  <a:pt x="284069" y="361934"/>
                  <a:pt x="290037" y="364365"/>
                  <a:pt x="294420" y="368749"/>
                </a:cubicBezTo>
                <a:cubicBezTo>
                  <a:pt x="298803" y="373132"/>
                  <a:pt x="301234" y="379100"/>
                  <a:pt x="301161" y="385288"/>
                </a:cubicBezTo>
                <a:lnTo>
                  <a:pt x="301161" y="473690"/>
                </a:lnTo>
                <a:cubicBezTo>
                  <a:pt x="301823" y="476010"/>
                  <a:pt x="301344" y="478478"/>
                  <a:pt x="299908" y="480393"/>
                </a:cubicBezTo>
                <a:cubicBezTo>
                  <a:pt x="298472" y="482309"/>
                  <a:pt x="296188" y="483450"/>
                  <a:pt x="293794" y="483450"/>
                </a:cubicBezTo>
                <a:cubicBezTo>
                  <a:pt x="291399" y="483450"/>
                  <a:pt x="289116" y="482309"/>
                  <a:pt x="287679" y="480393"/>
                </a:cubicBezTo>
                <a:cubicBezTo>
                  <a:pt x="286243" y="478478"/>
                  <a:pt x="285764" y="476010"/>
                  <a:pt x="286427" y="473690"/>
                </a:cubicBezTo>
                <a:lnTo>
                  <a:pt x="286427" y="406210"/>
                </a:lnTo>
                <a:cubicBezTo>
                  <a:pt x="286427" y="402305"/>
                  <a:pt x="284880" y="398548"/>
                  <a:pt x="282117" y="395786"/>
                </a:cubicBezTo>
                <a:cubicBezTo>
                  <a:pt x="279355" y="393023"/>
                  <a:pt x="275598" y="391475"/>
                  <a:pt x="271693" y="391475"/>
                </a:cubicBezTo>
                <a:cubicBezTo>
                  <a:pt x="263553" y="391475"/>
                  <a:pt x="256959" y="398069"/>
                  <a:pt x="256959" y="406209"/>
                </a:cubicBezTo>
                <a:lnTo>
                  <a:pt x="255191" y="564739"/>
                </a:lnTo>
                <a:lnTo>
                  <a:pt x="254160" y="656825"/>
                </a:lnTo>
                <a:lnTo>
                  <a:pt x="253128" y="658888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D985B7AF-01B2-38DF-9443-BEB47C974D6B}"/>
              </a:ext>
            </a:extLst>
          </p:cNvPr>
          <p:cNvSpPr/>
          <p:nvPr/>
        </p:nvSpPr>
        <p:spPr>
          <a:xfrm>
            <a:off x="10411122" y="2171482"/>
            <a:ext cx="154815" cy="188180"/>
          </a:xfrm>
          <a:custGeom>
            <a:avLst/>
            <a:gdLst>
              <a:gd name="connsiteX0" fmla="*/ 161187 w 197578"/>
              <a:gd name="connsiteY0" fmla="*/ 115659 h 240159"/>
              <a:gd name="connsiteX1" fmla="*/ 168886 w 197578"/>
              <a:gd name="connsiteY1" fmla="*/ 49099 h 240159"/>
              <a:gd name="connsiteX2" fmla="*/ 120154 w 197578"/>
              <a:gd name="connsiteY2" fmla="*/ 3130 h 240159"/>
              <a:gd name="connsiteX3" fmla="*/ 54183 w 197578"/>
              <a:gd name="connsiteY3" fmla="*/ 14733 h 240159"/>
              <a:gd name="connsiteX4" fmla="*/ 24016 w 197578"/>
              <a:gd name="connsiteY4" fmla="*/ 74552 h 240159"/>
              <a:gd name="connsiteX5" fmla="*/ 36540 w 197578"/>
              <a:gd name="connsiteY5" fmla="*/ 115659 h 240159"/>
              <a:gd name="connsiteX6" fmla="*/ 0 w 197578"/>
              <a:gd name="connsiteY6" fmla="*/ 183435 h 240159"/>
              <a:gd name="connsiteX7" fmla="*/ 0 w 197578"/>
              <a:gd name="connsiteY7" fmla="*/ 240159 h 240159"/>
              <a:gd name="connsiteX8" fmla="*/ 29467 w 197578"/>
              <a:gd name="connsiteY8" fmla="*/ 240159 h 240159"/>
              <a:gd name="connsiteX9" fmla="*/ 29467 w 197578"/>
              <a:gd name="connsiteY9" fmla="*/ 183435 h 240159"/>
              <a:gd name="connsiteX10" fmla="*/ 57903 w 197578"/>
              <a:gd name="connsiteY10" fmla="*/ 137023 h 240159"/>
              <a:gd name="connsiteX11" fmla="*/ 59818 w 197578"/>
              <a:gd name="connsiteY11" fmla="*/ 138055 h 240159"/>
              <a:gd name="connsiteX12" fmla="*/ 64091 w 197578"/>
              <a:gd name="connsiteY12" fmla="*/ 140412 h 240159"/>
              <a:gd name="connsiteX13" fmla="*/ 69837 w 197578"/>
              <a:gd name="connsiteY13" fmla="*/ 143064 h 240159"/>
              <a:gd name="connsiteX14" fmla="*/ 76467 w 197578"/>
              <a:gd name="connsiteY14" fmla="*/ 145569 h 240159"/>
              <a:gd name="connsiteX15" fmla="*/ 79267 w 197578"/>
              <a:gd name="connsiteY15" fmla="*/ 145569 h 240159"/>
              <a:gd name="connsiteX16" fmla="*/ 118606 w 197578"/>
              <a:gd name="connsiteY16" fmla="*/ 145569 h 240159"/>
              <a:gd name="connsiteX17" fmla="*/ 121259 w 197578"/>
              <a:gd name="connsiteY17" fmla="*/ 145569 h 240159"/>
              <a:gd name="connsiteX18" fmla="*/ 127889 w 197578"/>
              <a:gd name="connsiteY18" fmla="*/ 143064 h 240159"/>
              <a:gd name="connsiteX19" fmla="*/ 133635 w 197578"/>
              <a:gd name="connsiteY19" fmla="*/ 140412 h 240159"/>
              <a:gd name="connsiteX20" fmla="*/ 138055 w 197578"/>
              <a:gd name="connsiteY20" fmla="*/ 138055 h 240159"/>
              <a:gd name="connsiteX21" fmla="*/ 139823 w 197578"/>
              <a:gd name="connsiteY21" fmla="*/ 137023 h 240159"/>
              <a:gd name="connsiteX22" fmla="*/ 168111 w 197578"/>
              <a:gd name="connsiteY22" fmla="*/ 183435 h 240159"/>
              <a:gd name="connsiteX23" fmla="*/ 168111 w 197578"/>
              <a:gd name="connsiteY23" fmla="*/ 240159 h 240159"/>
              <a:gd name="connsiteX24" fmla="*/ 197579 w 197578"/>
              <a:gd name="connsiteY24" fmla="*/ 240159 h 240159"/>
              <a:gd name="connsiteX25" fmla="*/ 197579 w 197578"/>
              <a:gd name="connsiteY25" fmla="*/ 183435 h 240159"/>
              <a:gd name="connsiteX26" fmla="*/ 161186 w 197578"/>
              <a:gd name="connsiteY26" fmla="*/ 115659 h 240159"/>
              <a:gd name="connsiteX27" fmla="*/ 98863 w 197578"/>
              <a:gd name="connsiteY27" fmla="*/ 29466 h 240159"/>
              <a:gd name="connsiteX28" fmla="*/ 141665 w 197578"/>
              <a:gd name="connsiteY28" fmla="*/ 59044 h 240159"/>
              <a:gd name="connsiteX29" fmla="*/ 128331 w 197578"/>
              <a:gd name="connsiteY29" fmla="*/ 109323 h 240159"/>
              <a:gd name="connsiteX30" fmla="*/ 84130 w 197578"/>
              <a:gd name="connsiteY30" fmla="*/ 117131 h 240159"/>
              <a:gd name="connsiteX31" fmla="*/ 76910 w 197578"/>
              <a:gd name="connsiteY31" fmla="*/ 113890 h 240159"/>
              <a:gd name="connsiteX32" fmla="*/ 70281 w 197578"/>
              <a:gd name="connsiteY32" fmla="*/ 109323 h 240159"/>
              <a:gd name="connsiteX33" fmla="*/ 53485 w 197578"/>
              <a:gd name="connsiteY33" fmla="*/ 74551 h 240159"/>
              <a:gd name="connsiteX34" fmla="*/ 98864 w 197578"/>
              <a:gd name="connsiteY34" fmla="*/ 29466 h 240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7578" h="240159">
                <a:moveTo>
                  <a:pt x="161187" y="115659"/>
                </a:moveTo>
                <a:cubicBezTo>
                  <a:pt x="174116" y="95953"/>
                  <a:pt x="176989" y="71273"/>
                  <a:pt x="168886" y="49099"/>
                </a:cubicBezTo>
                <a:cubicBezTo>
                  <a:pt x="160819" y="26961"/>
                  <a:pt x="142734" y="9908"/>
                  <a:pt x="120154" y="3130"/>
                </a:cubicBezTo>
                <a:cubicBezTo>
                  <a:pt x="97574" y="-3611"/>
                  <a:pt x="73116" y="662"/>
                  <a:pt x="54183" y="14733"/>
                </a:cubicBezTo>
                <a:cubicBezTo>
                  <a:pt x="35251" y="28804"/>
                  <a:pt x="24053" y="50978"/>
                  <a:pt x="24016" y="74552"/>
                </a:cubicBezTo>
                <a:cubicBezTo>
                  <a:pt x="24016" y="89212"/>
                  <a:pt x="28362" y="103504"/>
                  <a:pt x="36540" y="115659"/>
                </a:cubicBezTo>
                <a:cubicBezTo>
                  <a:pt x="13776" y="130725"/>
                  <a:pt x="74" y="156141"/>
                  <a:pt x="0" y="183435"/>
                </a:cubicBezTo>
                <a:lnTo>
                  <a:pt x="0" y="240159"/>
                </a:lnTo>
                <a:lnTo>
                  <a:pt x="29467" y="240159"/>
                </a:lnTo>
                <a:lnTo>
                  <a:pt x="29467" y="183435"/>
                </a:lnTo>
                <a:cubicBezTo>
                  <a:pt x="29541" y="163876"/>
                  <a:pt x="40518" y="145974"/>
                  <a:pt x="57903" y="137023"/>
                </a:cubicBezTo>
                <a:lnTo>
                  <a:pt x="59818" y="138055"/>
                </a:lnTo>
                <a:cubicBezTo>
                  <a:pt x="61182" y="138938"/>
                  <a:pt x="62618" y="139712"/>
                  <a:pt x="64091" y="140412"/>
                </a:cubicBezTo>
                <a:lnTo>
                  <a:pt x="69837" y="143064"/>
                </a:lnTo>
                <a:cubicBezTo>
                  <a:pt x="72011" y="144022"/>
                  <a:pt x="74221" y="144869"/>
                  <a:pt x="76467" y="145569"/>
                </a:cubicBezTo>
                <a:lnTo>
                  <a:pt x="79267" y="145569"/>
                </a:lnTo>
                <a:cubicBezTo>
                  <a:pt x="92085" y="149510"/>
                  <a:pt x="105788" y="149510"/>
                  <a:pt x="118606" y="145569"/>
                </a:cubicBezTo>
                <a:lnTo>
                  <a:pt x="121259" y="145569"/>
                </a:lnTo>
                <a:cubicBezTo>
                  <a:pt x="123506" y="144869"/>
                  <a:pt x="125715" y="144022"/>
                  <a:pt x="127889" y="143064"/>
                </a:cubicBezTo>
                <a:cubicBezTo>
                  <a:pt x="129877" y="142327"/>
                  <a:pt x="131793" y="141444"/>
                  <a:pt x="133635" y="140412"/>
                </a:cubicBezTo>
                <a:lnTo>
                  <a:pt x="138055" y="138055"/>
                </a:lnTo>
                <a:lnTo>
                  <a:pt x="139823" y="137023"/>
                </a:lnTo>
                <a:cubicBezTo>
                  <a:pt x="157209" y="145974"/>
                  <a:pt x="168111" y="163876"/>
                  <a:pt x="168111" y="183435"/>
                </a:cubicBezTo>
                <a:lnTo>
                  <a:pt x="168111" y="240159"/>
                </a:lnTo>
                <a:lnTo>
                  <a:pt x="197579" y="240159"/>
                </a:lnTo>
                <a:lnTo>
                  <a:pt x="197579" y="183435"/>
                </a:lnTo>
                <a:cubicBezTo>
                  <a:pt x="197505" y="156177"/>
                  <a:pt x="183877" y="130762"/>
                  <a:pt x="161186" y="115659"/>
                </a:cubicBezTo>
                <a:close/>
                <a:moveTo>
                  <a:pt x="98863" y="29466"/>
                </a:moveTo>
                <a:cubicBezTo>
                  <a:pt x="117943" y="29319"/>
                  <a:pt x="135071" y="41143"/>
                  <a:pt x="141665" y="59044"/>
                </a:cubicBezTo>
                <a:cubicBezTo>
                  <a:pt x="148258" y="76945"/>
                  <a:pt x="142918" y="97057"/>
                  <a:pt x="128331" y="109323"/>
                </a:cubicBezTo>
                <a:cubicBezTo>
                  <a:pt x="115918" y="119342"/>
                  <a:pt x="99232" y="122288"/>
                  <a:pt x="84130" y="117131"/>
                </a:cubicBezTo>
                <a:cubicBezTo>
                  <a:pt x="81662" y="116248"/>
                  <a:pt x="79231" y="115143"/>
                  <a:pt x="76910" y="113890"/>
                </a:cubicBezTo>
                <a:cubicBezTo>
                  <a:pt x="74590" y="112527"/>
                  <a:pt x="72380" y="111017"/>
                  <a:pt x="70281" y="109323"/>
                </a:cubicBezTo>
                <a:cubicBezTo>
                  <a:pt x="59635" y="100925"/>
                  <a:pt x="53447" y="88106"/>
                  <a:pt x="53485" y="74551"/>
                </a:cubicBezTo>
                <a:cubicBezTo>
                  <a:pt x="53632" y="49615"/>
                  <a:pt x="73928" y="29466"/>
                  <a:pt x="98864" y="29466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49A5353-599A-8B04-0DA7-91C0D1CB2CB9}"/>
              </a:ext>
            </a:extLst>
          </p:cNvPr>
          <p:cNvSpPr/>
          <p:nvPr/>
        </p:nvSpPr>
        <p:spPr>
          <a:xfrm>
            <a:off x="10586027" y="2170975"/>
            <a:ext cx="154815" cy="188686"/>
          </a:xfrm>
          <a:custGeom>
            <a:avLst/>
            <a:gdLst>
              <a:gd name="connsiteX0" fmla="*/ 161186 w 197578"/>
              <a:gd name="connsiteY0" fmla="*/ 116306 h 240805"/>
              <a:gd name="connsiteX1" fmla="*/ 173710 w 197578"/>
              <a:gd name="connsiteY1" fmla="*/ 75199 h 240805"/>
              <a:gd name="connsiteX2" fmla="*/ 143690 w 197578"/>
              <a:gd name="connsiteY2" fmla="*/ 14901 h 240805"/>
              <a:gd name="connsiteX3" fmla="*/ 77389 w 197578"/>
              <a:gd name="connsiteY3" fmla="*/ 3151 h 240805"/>
              <a:gd name="connsiteX4" fmla="*/ 28473 w 197578"/>
              <a:gd name="connsiteY4" fmla="*/ 49452 h 240805"/>
              <a:gd name="connsiteX5" fmla="*/ 36540 w 197578"/>
              <a:gd name="connsiteY5" fmla="*/ 116306 h 240805"/>
              <a:gd name="connsiteX6" fmla="*/ 0 w 197578"/>
              <a:gd name="connsiteY6" fmla="*/ 184081 h 240805"/>
              <a:gd name="connsiteX7" fmla="*/ 0 w 197578"/>
              <a:gd name="connsiteY7" fmla="*/ 240806 h 240805"/>
              <a:gd name="connsiteX8" fmla="*/ 29467 w 197578"/>
              <a:gd name="connsiteY8" fmla="*/ 240806 h 240805"/>
              <a:gd name="connsiteX9" fmla="*/ 29467 w 197578"/>
              <a:gd name="connsiteY9" fmla="*/ 184081 h 240805"/>
              <a:gd name="connsiteX10" fmla="*/ 57903 w 197578"/>
              <a:gd name="connsiteY10" fmla="*/ 137670 h 240805"/>
              <a:gd name="connsiteX11" fmla="*/ 59671 w 197578"/>
              <a:gd name="connsiteY11" fmla="*/ 138701 h 240805"/>
              <a:gd name="connsiteX12" fmla="*/ 64091 w 197578"/>
              <a:gd name="connsiteY12" fmla="*/ 141059 h 240805"/>
              <a:gd name="connsiteX13" fmla="*/ 69690 w 197578"/>
              <a:gd name="connsiteY13" fmla="*/ 143710 h 240805"/>
              <a:gd name="connsiteX14" fmla="*/ 76467 w 197578"/>
              <a:gd name="connsiteY14" fmla="*/ 146216 h 240805"/>
              <a:gd name="connsiteX15" fmla="*/ 78972 w 197578"/>
              <a:gd name="connsiteY15" fmla="*/ 146216 h 240805"/>
              <a:gd name="connsiteX16" fmla="*/ 98863 w 197578"/>
              <a:gd name="connsiteY16" fmla="*/ 149162 h 240805"/>
              <a:gd name="connsiteX17" fmla="*/ 118606 w 197578"/>
              <a:gd name="connsiteY17" fmla="*/ 146216 h 240805"/>
              <a:gd name="connsiteX18" fmla="*/ 121112 w 197578"/>
              <a:gd name="connsiteY18" fmla="*/ 146216 h 240805"/>
              <a:gd name="connsiteX19" fmla="*/ 127889 w 197578"/>
              <a:gd name="connsiteY19" fmla="*/ 143710 h 240805"/>
              <a:gd name="connsiteX20" fmla="*/ 133488 w 197578"/>
              <a:gd name="connsiteY20" fmla="*/ 141059 h 240805"/>
              <a:gd name="connsiteX21" fmla="*/ 137908 w 197578"/>
              <a:gd name="connsiteY21" fmla="*/ 138701 h 240805"/>
              <a:gd name="connsiteX22" fmla="*/ 139676 w 197578"/>
              <a:gd name="connsiteY22" fmla="*/ 137670 h 240805"/>
              <a:gd name="connsiteX23" fmla="*/ 168112 w 197578"/>
              <a:gd name="connsiteY23" fmla="*/ 184081 h 240805"/>
              <a:gd name="connsiteX24" fmla="*/ 168112 w 197578"/>
              <a:gd name="connsiteY24" fmla="*/ 240806 h 240805"/>
              <a:gd name="connsiteX25" fmla="*/ 197579 w 197578"/>
              <a:gd name="connsiteY25" fmla="*/ 240806 h 240805"/>
              <a:gd name="connsiteX26" fmla="*/ 197579 w 197578"/>
              <a:gd name="connsiteY26" fmla="*/ 184081 h 240805"/>
              <a:gd name="connsiteX27" fmla="*/ 161186 w 197578"/>
              <a:gd name="connsiteY27" fmla="*/ 116306 h 240805"/>
              <a:gd name="connsiteX28" fmla="*/ 99010 w 197578"/>
              <a:gd name="connsiteY28" fmla="*/ 30114 h 240805"/>
              <a:gd name="connsiteX29" fmla="*/ 141553 w 197578"/>
              <a:gd name="connsiteY29" fmla="*/ 59765 h 240805"/>
              <a:gd name="connsiteX30" fmla="*/ 128477 w 197578"/>
              <a:gd name="connsiteY30" fmla="*/ 109970 h 240805"/>
              <a:gd name="connsiteX31" fmla="*/ 84276 w 197578"/>
              <a:gd name="connsiteY31" fmla="*/ 117779 h 240805"/>
              <a:gd name="connsiteX32" fmla="*/ 70574 w 197578"/>
              <a:gd name="connsiteY32" fmla="*/ 109823 h 240805"/>
              <a:gd name="connsiteX33" fmla="*/ 54514 w 197578"/>
              <a:gd name="connsiteY33" fmla="*/ 75494 h 240805"/>
              <a:gd name="connsiteX34" fmla="*/ 99011 w 197578"/>
              <a:gd name="connsiteY34" fmla="*/ 30114 h 2408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97578" h="240805">
                <a:moveTo>
                  <a:pt x="161186" y="116306"/>
                </a:moveTo>
                <a:cubicBezTo>
                  <a:pt x="169364" y="104150"/>
                  <a:pt x="173710" y="89859"/>
                  <a:pt x="173710" y="75199"/>
                </a:cubicBezTo>
                <a:cubicBezTo>
                  <a:pt x="173820" y="51478"/>
                  <a:pt x="162696" y="29119"/>
                  <a:pt x="143690" y="14901"/>
                </a:cubicBezTo>
                <a:cubicBezTo>
                  <a:pt x="124684" y="720"/>
                  <a:pt x="100078" y="-3664"/>
                  <a:pt x="77389" y="3151"/>
                </a:cubicBezTo>
                <a:cubicBezTo>
                  <a:pt x="54661" y="9966"/>
                  <a:pt x="36503" y="27130"/>
                  <a:pt x="28473" y="49452"/>
                </a:cubicBezTo>
                <a:cubicBezTo>
                  <a:pt x="20406" y="71774"/>
                  <a:pt x="23389" y="96563"/>
                  <a:pt x="36540" y="116306"/>
                </a:cubicBezTo>
                <a:cubicBezTo>
                  <a:pt x="13812" y="131408"/>
                  <a:pt x="110" y="156824"/>
                  <a:pt x="0" y="184081"/>
                </a:cubicBezTo>
                <a:lnTo>
                  <a:pt x="0" y="240806"/>
                </a:lnTo>
                <a:lnTo>
                  <a:pt x="29467" y="240806"/>
                </a:lnTo>
                <a:lnTo>
                  <a:pt x="29467" y="184081"/>
                </a:lnTo>
                <a:cubicBezTo>
                  <a:pt x="29504" y="164522"/>
                  <a:pt x="40481" y="146583"/>
                  <a:pt x="57903" y="137670"/>
                </a:cubicBezTo>
                <a:lnTo>
                  <a:pt x="59671" y="138701"/>
                </a:lnTo>
                <a:lnTo>
                  <a:pt x="64091" y="141059"/>
                </a:lnTo>
                <a:cubicBezTo>
                  <a:pt x="65896" y="142090"/>
                  <a:pt x="67737" y="142974"/>
                  <a:pt x="69690" y="143710"/>
                </a:cubicBezTo>
                <a:cubicBezTo>
                  <a:pt x="71900" y="144668"/>
                  <a:pt x="74147" y="145515"/>
                  <a:pt x="76467" y="146216"/>
                </a:cubicBezTo>
                <a:lnTo>
                  <a:pt x="78972" y="146216"/>
                </a:lnTo>
                <a:cubicBezTo>
                  <a:pt x="85455" y="148094"/>
                  <a:pt x="92121" y="149088"/>
                  <a:pt x="98863" y="149162"/>
                </a:cubicBezTo>
                <a:cubicBezTo>
                  <a:pt x="105530" y="149088"/>
                  <a:pt x="112197" y="148094"/>
                  <a:pt x="118606" y="146216"/>
                </a:cubicBezTo>
                <a:lnTo>
                  <a:pt x="121112" y="146216"/>
                </a:lnTo>
                <a:cubicBezTo>
                  <a:pt x="123432" y="145552"/>
                  <a:pt x="125678" y="144705"/>
                  <a:pt x="127889" y="143710"/>
                </a:cubicBezTo>
                <a:cubicBezTo>
                  <a:pt x="129841" y="142974"/>
                  <a:pt x="131683" y="142090"/>
                  <a:pt x="133488" y="141059"/>
                </a:cubicBezTo>
                <a:cubicBezTo>
                  <a:pt x="134998" y="140359"/>
                  <a:pt x="136472" y="139585"/>
                  <a:pt x="137908" y="138701"/>
                </a:cubicBezTo>
                <a:cubicBezTo>
                  <a:pt x="137908" y="138701"/>
                  <a:pt x="139233" y="138701"/>
                  <a:pt x="139676" y="137670"/>
                </a:cubicBezTo>
                <a:cubicBezTo>
                  <a:pt x="157099" y="146583"/>
                  <a:pt x="168075" y="164522"/>
                  <a:pt x="168112" y="184081"/>
                </a:cubicBezTo>
                <a:lnTo>
                  <a:pt x="168112" y="240806"/>
                </a:lnTo>
                <a:lnTo>
                  <a:pt x="197579" y="240806"/>
                </a:lnTo>
                <a:lnTo>
                  <a:pt x="197579" y="184081"/>
                </a:lnTo>
                <a:cubicBezTo>
                  <a:pt x="197542" y="156824"/>
                  <a:pt x="183877" y="131372"/>
                  <a:pt x="161186" y="116306"/>
                </a:cubicBezTo>
                <a:close/>
                <a:moveTo>
                  <a:pt x="99010" y="30114"/>
                </a:moveTo>
                <a:cubicBezTo>
                  <a:pt x="118016" y="30114"/>
                  <a:pt x="134960" y="41974"/>
                  <a:pt x="141553" y="59765"/>
                </a:cubicBezTo>
                <a:cubicBezTo>
                  <a:pt x="148109" y="77593"/>
                  <a:pt x="142916" y="97631"/>
                  <a:pt x="128477" y="109970"/>
                </a:cubicBezTo>
                <a:cubicBezTo>
                  <a:pt x="116027" y="119952"/>
                  <a:pt x="99378" y="122899"/>
                  <a:pt x="84276" y="117779"/>
                </a:cubicBezTo>
                <a:cubicBezTo>
                  <a:pt x="79229" y="116048"/>
                  <a:pt x="74589" y="113322"/>
                  <a:pt x="70574" y="109823"/>
                </a:cubicBezTo>
                <a:cubicBezTo>
                  <a:pt x="60334" y="101387"/>
                  <a:pt x="54441" y="88754"/>
                  <a:pt x="54514" y="75494"/>
                </a:cubicBezTo>
                <a:cubicBezTo>
                  <a:pt x="54514" y="50778"/>
                  <a:pt x="74295" y="30593"/>
                  <a:pt x="99011" y="30114"/>
                </a:cubicBez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1E50D310-02D1-2F47-5646-F431A41B6479}"/>
              </a:ext>
            </a:extLst>
          </p:cNvPr>
          <p:cNvSpPr/>
          <p:nvPr/>
        </p:nvSpPr>
        <p:spPr>
          <a:xfrm>
            <a:off x="10278803" y="1731711"/>
            <a:ext cx="171148" cy="180585"/>
          </a:xfrm>
          <a:custGeom>
            <a:avLst/>
            <a:gdLst>
              <a:gd name="connsiteX0" fmla="*/ 16088 w 218423"/>
              <a:gd name="connsiteY0" fmla="*/ 226783 h 230466"/>
              <a:gd name="connsiteX1" fmla="*/ 25811 w 218423"/>
              <a:gd name="connsiteY1" fmla="*/ 230466 h 230466"/>
              <a:gd name="connsiteX2" fmla="*/ 26843 w 218423"/>
              <a:gd name="connsiteY2" fmla="*/ 230466 h 230466"/>
              <a:gd name="connsiteX3" fmla="*/ 204534 w 218423"/>
              <a:gd name="connsiteY3" fmla="*/ 218826 h 230466"/>
              <a:gd name="connsiteX4" fmla="*/ 214773 w 218423"/>
              <a:gd name="connsiteY4" fmla="*/ 213854 h 230466"/>
              <a:gd name="connsiteX5" fmla="*/ 218383 w 218423"/>
              <a:gd name="connsiteY5" fmla="*/ 203062 h 230466"/>
              <a:gd name="connsiteX6" fmla="*/ 207628 w 218423"/>
              <a:gd name="connsiteY6" fmla="*/ 39958 h 230466"/>
              <a:gd name="connsiteX7" fmla="*/ 192011 w 218423"/>
              <a:gd name="connsiteY7" fmla="*/ 26256 h 230466"/>
              <a:gd name="connsiteX8" fmla="*/ 158271 w 218423"/>
              <a:gd name="connsiteY8" fmla="*/ 28467 h 230466"/>
              <a:gd name="connsiteX9" fmla="*/ 157239 w 218423"/>
              <a:gd name="connsiteY9" fmla="*/ 13733 h 230466"/>
              <a:gd name="connsiteX10" fmla="*/ 141622 w 218423"/>
              <a:gd name="connsiteY10" fmla="*/ 30 h 230466"/>
              <a:gd name="connsiteX11" fmla="*/ 60292 w 218423"/>
              <a:gd name="connsiteY11" fmla="*/ 5187 h 230466"/>
              <a:gd name="connsiteX12" fmla="*/ 46589 w 218423"/>
              <a:gd name="connsiteY12" fmla="*/ 20804 h 230466"/>
              <a:gd name="connsiteX13" fmla="*/ 47621 w 218423"/>
              <a:gd name="connsiteY13" fmla="*/ 35538 h 230466"/>
              <a:gd name="connsiteX14" fmla="*/ 13881 w 218423"/>
              <a:gd name="connsiteY14" fmla="*/ 37748 h 230466"/>
              <a:gd name="connsiteX15" fmla="*/ 3715 w 218423"/>
              <a:gd name="connsiteY15" fmla="*/ 42685 h 230466"/>
              <a:gd name="connsiteX16" fmla="*/ 32 w 218423"/>
              <a:gd name="connsiteY16" fmla="*/ 53366 h 230466"/>
              <a:gd name="connsiteX17" fmla="*/ 10934 w 218423"/>
              <a:gd name="connsiteY17" fmla="*/ 216319 h 230466"/>
              <a:gd name="connsiteX18" fmla="*/ 16091 w 218423"/>
              <a:gd name="connsiteY18" fmla="*/ 226780 h 230466"/>
              <a:gd name="connsiteX19" fmla="*/ 128356 w 218423"/>
              <a:gd name="connsiteY19" fmla="*/ 30827 h 230466"/>
              <a:gd name="connsiteX20" fmla="*/ 130419 w 218423"/>
              <a:gd name="connsiteY20" fmla="*/ 60294 h 230466"/>
              <a:gd name="connsiteX21" fmla="*/ 78998 w 218423"/>
              <a:gd name="connsiteY21" fmla="*/ 63683 h 230466"/>
              <a:gd name="connsiteX22" fmla="*/ 76936 w 218423"/>
              <a:gd name="connsiteY22" fmla="*/ 34216 h 230466"/>
              <a:gd name="connsiteX23" fmla="*/ 49530 w 218423"/>
              <a:gd name="connsiteY23" fmla="*/ 65745 h 230466"/>
              <a:gd name="connsiteX24" fmla="*/ 50562 w 218423"/>
              <a:gd name="connsiteY24" fmla="*/ 80479 h 230466"/>
              <a:gd name="connsiteX25" fmla="*/ 55571 w 218423"/>
              <a:gd name="connsiteY25" fmla="*/ 90498 h 230466"/>
              <a:gd name="connsiteX26" fmla="*/ 60286 w 218423"/>
              <a:gd name="connsiteY26" fmla="*/ 93298 h 230466"/>
              <a:gd name="connsiteX27" fmla="*/ 61907 w 218423"/>
              <a:gd name="connsiteY27" fmla="*/ 93298 h 230466"/>
              <a:gd name="connsiteX28" fmla="*/ 65149 w 218423"/>
              <a:gd name="connsiteY28" fmla="*/ 93298 h 230466"/>
              <a:gd name="connsiteX29" fmla="*/ 66179 w 218423"/>
              <a:gd name="connsiteY29" fmla="*/ 93298 h 230466"/>
              <a:gd name="connsiteX30" fmla="*/ 147067 w 218423"/>
              <a:gd name="connsiteY30" fmla="*/ 87994 h 230466"/>
              <a:gd name="connsiteX31" fmla="*/ 152519 w 218423"/>
              <a:gd name="connsiteY31" fmla="*/ 86373 h 230466"/>
              <a:gd name="connsiteX32" fmla="*/ 160033 w 218423"/>
              <a:gd name="connsiteY32" fmla="*/ 77975 h 230466"/>
              <a:gd name="connsiteX33" fmla="*/ 160033 w 218423"/>
              <a:gd name="connsiteY33" fmla="*/ 72228 h 230466"/>
              <a:gd name="connsiteX34" fmla="*/ 159002 w 218423"/>
              <a:gd name="connsiteY34" fmla="*/ 57495 h 230466"/>
              <a:gd name="connsiteX35" fmla="*/ 178156 w 218423"/>
              <a:gd name="connsiteY35" fmla="*/ 56611 h 230466"/>
              <a:gd name="connsiteX36" fmla="*/ 186996 w 218423"/>
              <a:gd name="connsiteY36" fmla="*/ 190246 h 230466"/>
              <a:gd name="connsiteX37" fmla="*/ 38772 w 218423"/>
              <a:gd name="connsiteY37" fmla="*/ 199970 h 230466"/>
              <a:gd name="connsiteX38" fmla="*/ 30816 w 218423"/>
              <a:gd name="connsiteY38" fmla="*/ 66485 h 230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18423" h="230466">
                <a:moveTo>
                  <a:pt x="16088" y="226783"/>
                </a:moveTo>
                <a:cubicBezTo>
                  <a:pt x="18777" y="229140"/>
                  <a:pt x="22238" y="230466"/>
                  <a:pt x="25811" y="230466"/>
                </a:cubicBezTo>
                <a:lnTo>
                  <a:pt x="26843" y="230466"/>
                </a:lnTo>
                <a:lnTo>
                  <a:pt x="204534" y="218826"/>
                </a:lnTo>
                <a:cubicBezTo>
                  <a:pt x="208475" y="218606"/>
                  <a:pt x="212159" y="216801"/>
                  <a:pt x="214773" y="213854"/>
                </a:cubicBezTo>
                <a:cubicBezTo>
                  <a:pt x="217352" y="210871"/>
                  <a:pt x="218677" y="207002"/>
                  <a:pt x="218383" y="203062"/>
                </a:cubicBezTo>
                <a:lnTo>
                  <a:pt x="207628" y="39958"/>
                </a:lnTo>
                <a:cubicBezTo>
                  <a:pt x="207075" y="31855"/>
                  <a:pt x="200113" y="25740"/>
                  <a:pt x="192011" y="26256"/>
                </a:cubicBezTo>
                <a:lnTo>
                  <a:pt x="158271" y="28467"/>
                </a:lnTo>
                <a:lnTo>
                  <a:pt x="157239" y="13733"/>
                </a:lnTo>
                <a:cubicBezTo>
                  <a:pt x="156686" y="5629"/>
                  <a:pt x="149724" y="-485"/>
                  <a:pt x="141622" y="30"/>
                </a:cubicBezTo>
                <a:lnTo>
                  <a:pt x="60292" y="5187"/>
                </a:lnTo>
                <a:cubicBezTo>
                  <a:pt x="52188" y="5740"/>
                  <a:pt x="46074" y="12701"/>
                  <a:pt x="46589" y="20804"/>
                </a:cubicBezTo>
                <a:lnTo>
                  <a:pt x="47621" y="35538"/>
                </a:lnTo>
                <a:lnTo>
                  <a:pt x="13881" y="37748"/>
                </a:lnTo>
                <a:cubicBezTo>
                  <a:pt x="9976" y="37970"/>
                  <a:pt x="6330" y="39738"/>
                  <a:pt x="3715" y="42685"/>
                </a:cubicBezTo>
                <a:cubicBezTo>
                  <a:pt x="1099" y="45594"/>
                  <a:pt x="-227" y="49462"/>
                  <a:pt x="32" y="53366"/>
                </a:cubicBezTo>
                <a:lnTo>
                  <a:pt x="10934" y="216319"/>
                </a:lnTo>
                <a:cubicBezTo>
                  <a:pt x="11155" y="220370"/>
                  <a:pt x="12996" y="224164"/>
                  <a:pt x="16091" y="226780"/>
                </a:cubicBezTo>
                <a:close/>
                <a:moveTo>
                  <a:pt x="128356" y="30827"/>
                </a:moveTo>
                <a:lnTo>
                  <a:pt x="130419" y="60294"/>
                </a:lnTo>
                <a:lnTo>
                  <a:pt x="78998" y="63683"/>
                </a:lnTo>
                <a:lnTo>
                  <a:pt x="76936" y="34216"/>
                </a:lnTo>
                <a:close/>
                <a:moveTo>
                  <a:pt x="49530" y="65745"/>
                </a:moveTo>
                <a:lnTo>
                  <a:pt x="50562" y="80479"/>
                </a:lnTo>
                <a:cubicBezTo>
                  <a:pt x="50856" y="84347"/>
                  <a:pt x="52661" y="87957"/>
                  <a:pt x="55571" y="90498"/>
                </a:cubicBezTo>
                <a:cubicBezTo>
                  <a:pt x="56898" y="91787"/>
                  <a:pt x="58518" y="92745"/>
                  <a:pt x="60286" y="93298"/>
                </a:cubicBezTo>
                <a:lnTo>
                  <a:pt x="61907" y="93298"/>
                </a:lnTo>
                <a:cubicBezTo>
                  <a:pt x="62975" y="93408"/>
                  <a:pt x="64080" y="93408"/>
                  <a:pt x="65149" y="93298"/>
                </a:cubicBezTo>
                <a:lnTo>
                  <a:pt x="66179" y="93298"/>
                </a:lnTo>
                <a:lnTo>
                  <a:pt x="147067" y="87994"/>
                </a:lnTo>
                <a:cubicBezTo>
                  <a:pt x="148983" y="87847"/>
                  <a:pt x="150825" y="87294"/>
                  <a:pt x="152519" y="86373"/>
                </a:cubicBezTo>
                <a:cubicBezTo>
                  <a:pt x="156056" y="84678"/>
                  <a:pt x="158744" y="81658"/>
                  <a:pt x="160033" y="77975"/>
                </a:cubicBezTo>
                <a:cubicBezTo>
                  <a:pt x="160402" y="76096"/>
                  <a:pt x="160402" y="74107"/>
                  <a:pt x="160033" y="72228"/>
                </a:cubicBezTo>
                <a:lnTo>
                  <a:pt x="159002" y="57495"/>
                </a:lnTo>
                <a:lnTo>
                  <a:pt x="178156" y="56611"/>
                </a:lnTo>
                <a:lnTo>
                  <a:pt x="186996" y="190246"/>
                </a:lnTo>
                <a:lnTo>
                  <a:pt x="38772" y="199970"/>
                </a:lnTo>
                <a:lnTo>
                  <a:pt x="30816" y="66485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5105728-4D36-8BC4-425B-FD9F4EA43931}"/>
              </a:ext>
            </a:extLst>
          </p:cNvPr>
          <p:cNvSpPr/>
          <p:nvPr/>
        </p:nvSpPr>
        <p:spPr>
          <a:xfrm>
            <a:off x="10461417" y="1758906"/>
            <a:ext cx="188176" cy="193305"/>
          </a:xfrm>
          <a:custGeom>
            <a:avLst/>
            <a:gdLst>
              <a:gd name="connsiteX0" fmla="*/ 11397 w 240154"/>
              <a:gd name="connsiteY0" fmla="*/ 205778 h 246700"/>
              <a:gd name="connsiteX1" fmla="*/ 184816 w 240154"/>
              <a:gd name="connsiteY1" fmla="*/ 246590 h 246700"/>
              <a:gd name="connsiteX2" fmla="*/ 188205 w 240154"/>
              <a:gd name="connsiteY2" fmla="*/ 246590 h 246700"/>
              <a:gd name="connsiteX3" fmla="*/ 202939 w 240154"/>
              <a:gd name="connsiteY3" fmla="*/ 235245 h 246700"/>
              <a:gd name="connsiteX4" fmla="*/ 239773 w 240154"/>
              <a:gd name="connsiteY4" fmla="*/ 76564 h 246700"/>
              <a:gd name="connsiteX5" fmla="*/ 237894 w 240154"/>
              <a:gd name="connsiteY5" fmla="*/ 65440 h 246700"/>
              <a:gd name="connsiteX6" fmla="*/ 228722 w 240154"/>
              <a:gd name="connsiteY6" fmla="*/ 58884 h 246700"/>
              <a:gd name="connsiteX7" fmla="*/ 195572 w 240154"/>
              <a:gd name="connsiteY7" fmla="*/ 51222 h 246700"/>
              <a:gd name="connsiteX8" fmla="*/ 198961 w 240154"/>
              <a:gd name="connsiteY8" fmla="*/ 36489 h 246700"/>
              <a:gd name="connsiteX9" fmla="*/ 197082 w 240154"/>
              <a:gd name="connsiteY9" fmla="*/ 25365 h 246700"/>
              <a:gd name="connsiteX10" fmla="*/ 187910 w 240154"/>
              <a:gd name="connsiteY10" fmla="*/ 18808 h 246700"/>
              <a:gd name="connsiteX11" fmla="*/ 109527 w 240154"/>
              <a:gd name="connsiteY11" fmla="*/ 391 h 246700"/>
              <a:gd name="connsiteX12" fmla="*/ 98476 w 240154"/>
              <a:gd name="connsiteY12" fmla="*/ 2159 h 246700"/>
              <a:gd name="connsiteX13" fmla="*/ 92436 w 240154"/>
              <a:gd name="connsiteY13" fmla="*/ 10852 h 246700"/>
              <a:gd name="connsiteX14" fmla="*/ 89047 w 240154"/>
              <a:gd name="connsiteY14" fmla="*/ 25586 h 246700"/>
              <a:gd name="connsiteX15" fmla="*/ 55454 w 240154"/>
              <a:gd name="connsiteY15" fmla="*/ 18219 h 246700"/>
              <a:gd name="connsiteX16" fmla="*/ 37773 w 240154"/>
              <a:gd name="connsiteY16" fmla="*/ 29121 h 246700"/>
              <a:gd name="connsiteX17" fmla="*/ 497 w 240154"/>
              <a:gd name="connsiteY17" fmla="*/ 187651 h 246700"/>
              <a:gd name="connsiteX18" fmla="*/ 2118 w 240154"/>
              <a:gd name="connsiteY18" fmla="*/ 199033 h 246700"/>
              <a:gd name="connsiteX19" fmla="*/ 11401 w 240154"/>
              <a:gd name="connsiteY19" fmla="*/ 205774 h 246700"/>
              <a:gd name="connsiteX20" fmla="*/ 167277 w 240154"/>
              <a:gd name="connsiteY20" fmla="*/ 43702 h 246700"/>
              <a:gd name="connsiteX21" fmla="*/ 160499 w 240154"/>
              <a:gd name="connsiteY21" fmla="*/ 73170 h 246700"/>
              <a:gd name="connsiteX22" fmla="*/ 110405 w 240154"/>
              <a:gd name="connsiteY22" fmla="*/ 61383 h 246700"/>
              <a:gd name="connsiteX23" fmla="*/ 117183 w 240154"/>
              <a:gd name="connsiteY23" fmla="*/ 31915 h 246700"/>
              <a:gd name="connsiteX24" fmla="*/ 62967 w 240154"/>
              <a:gd name="connsiteY24" fmla="*/ 50185 h 246700"/>
              <a:gd name="connsiteX25" fmla="*/ 81532 w 240154"/>
              <a:gd name="connsiteY25" fmla="*/ 54605 h 246700"/>
              <a:gd name="connsiteX26" fmla="*/ 77702 w 240154"/>
              <a:gd name="connsiteY26" fmla="*/ 69781 h 246700"/>
              <a:gd name="connsiteX27" fmla="*/ 83447 w 240154"/>
              <a:gd name="connsiteY27" fmla="*/ 84514 h 246700"/>
              <a:gd name="connsiteX28" fmla="*/ 88751 w 240154"/>
              <a:gd name="connsiteY28" fmla="*/ 86872 h 246700"/>
              <a:gd name="connsiteX29" fmla="*/ 167577 w 240154"/>
              <a:gd name="connsiteY29" fmla="*/ 105438 h 246700"/>
              <a:gd name="connsiteX30" fmla="*/ 173913 w 240154"/>
              <a:gd name="connsiteY30" fmla="*/ 105438 h 246700"/>
              <a:gd name="connsiteX31" fmla="*/ 178628 w 240154"/>
              <a:gd name="connsiteY31" fmla="*/ 103670 h 246700"/>
              <a:gd name="connsiteX32" fmla="*/ 180691 w 240154"/>
              <a:gd name="connsiteY32" fmla="*/ 101902 h 246700"/>
              <a:gd name="connsiteX33" fmla="*/ 182753 w 240154"/>
              <a:gd name="connsiteY33" fmla="*/ 99838 h 246700"/>
              <a:gd name="connsiteX34" fmla="*/ 185258 w 240154"/>
              <a:gd name="connsiteY34" fmla="*/ 94534 h 246700"/>
              <a:gd name="connsiteX35" fmla="*/ 188647 w 240154"/>
              <a:gd name="connsiteY35" fmla="*/ 79801 h 246700"/>
              <a:gd name="connsiteX36" fmla="*/ 207212 w 240154"/>
              <a:gd name="connsiteY36" fmla="*/ 84221 h 246700"/>
              <a:gd name="connsiteX37" fmla="*/ 176713 w 240154"/>
              <a:gd name="connsiteY37" fmla="*/ 214462 h 246700"/>
              <a:gd name="connsiteX38" fmla="*/ 31884 w 240154"/>
              <a:gd name="connsiteY38" fmla="*/ 180574 h 246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40154" h="246700">
                <a:moveTo>
                  <a:pt x="11397" y="205778"/>
                </a:moveTo>
                <a:lnTo>
                  <a:pt x="184816" y="246590"/>
                </a:lnTo>
                <a:cubicBezTo>
                  <a:pt x="185958" y="246737"/>
                  <a:pt x="187063" y="246737"/>
                  <a:pt x="188205" y="246590"/>
                </a:cubicBezTo>
                <a:cubicBezTo>
                  <a:pt x="195167" y="246774"/>
                  <a:pt x="201318" y="242022"/>
                  <a:pt x="202939" y="235245"/>
                </a:cubicBezTo>
                <a:lnTo>
                  <a:pt x="239773" y="76564"/>
                </a:lnTo>
                <a:cubicBezTo>
                  <a:pt x="240656" y="72771"/>
                  <a:pt x="239993" y="68756"/>
                  <a:pt x="237894" y="65440"/>
                </a:cubicBezTo>
                <a:cubicBezTo>
                  <a:pt x="235831" y="62125"/>
                  <a:pt x="232517" y="59767"/>
                  <a:pt x="228722" y="58884"/>
                </a:cubicBezTo>
                <a:lnTo>
                  <a:pt x="195572" y="51222"/>
                </a:lnTo>
                <a:lnTo>
                  <a:pt x="198961" y="36489"/>
                </a:lnTo>
                <a:cubicBezTo>
                  <a:pt x="199844" y="32695"/>
                  <a:pt x="199181" y="28680"/>
                  <a:pt x="197082" y="25365"/>
                </a:cubicBezTo>
                <a:cubicBezTo>
                  <a:pt x="195019" y="22049"/>
                  <a:pt x="191705" y="19692"/>
                  <a:pt x="187910" y="18808"/>
                </a:cubicBezTo>
                <a:lnTo>
                  <a:pt x="109527" y="391"/>
                </a:lnTo>
                <a:cubicBezTo>
                  <a:pt x="105770" y="-493"/>
                  <a:pt x="101792" y="133"/>
                  <a:pt x="98476" y="2159"/>
                </a:cubicBezTo>
                <a:cubicBezTo>
                  <a:pt x="95456" y="4222"/>
                  <a:pt x="93319" y="7316"/>
                  <a:pt x="92436" y="10852"/>
                </a:cubicBezTo>
                <a:lnTo>
                  <a:pt x="89047" y="25586"/>
                </a:lnTo>
                <a:lnTo>
                  <a:pt x="55454" y="18219"/>
                </a:lnTo>
                <a:cubicBezTo>
                  <a:pt x="47572" y="16377"/>
                  <a:pt x="39652" y="21239"/>
                  <a:pt x="37773" y="29121"/>
                </a:cubicBezTo>
                <a:lnTo>
                  <a:pt x="497" y="187651"/>
                </a:lnTo>
                <a:cubicBezTo>
                  <a:pt x="-534" y="191519"/>
                  <a:pt x="55" y="195608"/>
                  <a:pt x="2118" y="199033"/>
                </a:cubicBezTo>
                <a:cubicBezTo>
                  <a:pt x="4180" y="202422"/>
                  <a:pt x="7533" y="204853"/>
                  <a:pt x="11401" y="205774"/>
                </a:cubicBezTo>
                <a:close/>
                <a:moveTo>
                  <a:pt x="167277" y="43702"/>
                </a:moveTo>
                <a:lnTo>
                  <a:pt x="160499" y="73170"/>
                </a:lnTo>
                <a:lnTo>
                  <a:pt x="110405" y="61383"/>
                </a:lnTo>
                <a:lnTo>
                  <a:pt x="117183" y="31915"/>
                </a:lnTo>
                <a:close/>
                <a:moveTo>
                  <a:pt x="62967" y="50185"/>
                </a:moveTo>
                <a:lnTo>
                  <a:pt x="81532" y="54605"/>
                </a:lnTo>
                <a:lnTo>
                  <a:pt x="77702" y="69781"/>
                </a:lnTo>
                <a:cubicBezTo>
                  <a:pt x="76597" y="75380"/>
                  <a:pt x="78843" y="81125"/>
                  <a:pt x="83447" y="84514"/>
                </a:cubicBezTo>
                <a:cubicBezTo>
                  <a:pt x="85068" y="85583"/>
                  <a:pt x="86873" y="86394"/>
                  <a:pt x="88751" y="86872"/>
                </a:cubicBezTo>
                <a:lnTo>
                  <a:pt x="167577" y="105438"/>
                </a:lnTo>
                <a:lnTo>
                  <a:pt x="173913" y="105438"/>
                </a:lnTo>
                <a:cubicBezTo>
                  <a:pt x="175571" y="105106"/>
                  <a:pt x="177155" y="104516"/>
                  <a:pt x="178628" y="103670"/>
                </a:cubicBezTo>
                <a:cubicBezTo>
                  <a:pt x="179364" y="103117"/>
                  <a:pt x="180027" y="102528"/>
                  <a:pt x="180691" y="101902"/>
                </a:cubicBezTo>
                <a:cubicBezTo>
                  <a:pt x="181464" y="101275"/>
                  <a:pt x="182127" y="100612"/>
                  <a:pt x="182753" y="99838"/>
                </a:cubicBezTo>
                <a:cubicBezTo>
                  <a:pt x="183932" y="98254"/>
                  <a:pt x="184780" y="96449"/>
                  <a:pt x="185258" y="94534"/>
                </a:cubicBezTo>
                <a:lnTo>
                  <a:pt x="188647" y="79801"/>
                </a:lnTo>
                <a:lnTo>
                  <a:pt x="207212" y="84221"/>
                </a:lnTo>
                <a:lnTo>
                  <a:pt x="176713" y="214462"/>
                </a:lnTo>
                <a:lnTo>
                  <a:pt x="31884" y="180574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612F36F-C779-D1B4-BD47-20D86BBC417D}"/>
              </a:ext>
            </a:extLst>
          </p:cNvPr>
          <p:cNvSpPr/>
          <p:nvPr/>
        </p:nvSpPr>
        <p:spPr>
          <a:xfrm>
            <a:off x="10338742" y="1932152"/>
            <a:ext cx="165102" cy="176404"/>
          </a:xfrm>
          <a:custGeom>
            <a:avLst/>
            <a:gdLst>
              <a:gd name="connsiteX0" fmla="*/ 66449 w 210707"/>
              <a:gd name="connsiteY0" fmla="*/ 0 h 225130"/>
              <a:gd name="connsiteX1" fmla="*/ 51716 w 210707"/>
              <a:gd name="connsiteY1" fmla="*/ 14734 h 225130"/>
              <a:gd name="connsiteX2" fmla="*/ 51716 w 210707"/>
              <a:gd name="connsiteY2" fmla="*/ 29467 h 225130"/>
              <a:gd name="connsiteX3" fmla="*/ 17828 w 210707"/>
              <a:gd name="connsiteY3" fmla="*/ 28731 h 225130"/>
              <a:gd name="connsiteX4" fmla="*/ 3094 w 210707"/>
              <a:gd name="connsiteY4" fmla="*/ 43465 h 225130"/>
              <a:gd name="connsiteX5" fmla="*/ 0 w 210707"/>
              <a:gd name="connsiteY5" fmla="*/ 206860 h 225130"/>
              <a:gd name="connsiteX6" fmla="*/ 4309 w 210707"/>
              <a:gd name="connsiteY6" fmla="*/ 217285 h 225130"/>
              <a:gd name="connsiteX7" fmla="*/ 14734 w 210707"/>
              <a:gd name="connsiteY7" fmla="*/ 221594 h 225130"/>
              <a:gd name="connsiteX8" fmla="*/ 192717 w 210707"/>
              <a:gd name="connsiteY8" fmla="*/ 225130 h 225130"/>
              <a:gd name="connsiteX9" fmla="*/ 203141 w 210707"/>
              <a:gd name="connsiteY9" fmla="*/ 220821 h 225130"/>
              <a:gd name="connsiteX10" fmla="*/ 207451 w 210707"/>
              <a:gd name="connsiteY10" fmla="*/ 210397 h 225130"/>
              <a:gd name="connsiteX11" fmla="*/ 210693 w 210707"/>
              <a:gd name="connsiteY11" fmla="*/ 47152 h 225130"/>
              <a:gd name="connsiteX12" fmla="*/ 206567 w 210707"/>
              <a:gd name="connsiteY12" fmla="*/ 36690 h 225130"/>
              <a:gd name="connsiteX13" fmla="*/ 196253 w 210707"/>
              <a:gd name="connsiteY13" fmla="*/ 32123 h 225130"/>
              <a:gd name="connsiteX14" fmla="*/ 162365 w 210707"/>
              <a:gd name="connsiteY14" fmla="*/ 31386 h 225130"/>
              <a:gd name="connsiteX15" fmla="*/ 162365 w 210707"/>
              <a:gd name="connsiteY15" fmla="*/ 16653 h 225130"/>
              <a:gd name="connsiteX16" fmla="*/ 158240 w 210707"/>
              <a:gd name="connsiteY16" fmla="*/ 6191 h 225130"/>
              <a:gd name="connsiteX17" fmla="*/ 147926 w 210707"/>
              <a:gd name="connsiteY17" fmla="*/ 1624 h 225130"/>
              <a:gd name="connsiteX18" fmla="*/ 67038 w 210707"/>
              <a:gd name="connsiteY18" fmla="*/ 3 h 225130"/>
              <a:gd name="connsiteX19" fmla="*/ 180340 w 210707"/>
              <a:gd name="connsiteY19" fmla="*/ 61439 h 225130"/>
              <a:gd name="connsiteX20" fmla="*/ 177688 w 210707"/>
              <a:gd name="connsiteY20" fmla="*/ 195226 h 225130"/>
              <a:gd name="connsiteX21" fmla="*/ 29172 w 210707"/>
              <a:gd name="connsiteY21" fmla="*/ 192279 h 225130"/>
              <a:gd name="connsiteX22" fmla="*/ 31677 w 210707"/>
              <a:gd name="connsiteY22" fmla="*/ 58493 h 225130"/>
              <a:gd name="connsiteX23" fmla="*/ 50830 w 210707"/>
              <a:gd name="connsiteY23" fmla="*/ 58493 h 225130"/>
              <a:gd name="connsiteX24" fmla="*/ 50830 w 210707"/>
              <a:gd name="connsiteY24" fmla="*/ 73226 h 225130"/>
              <a:gd name="connsiteX25" fmla="*/ 54956 w 210707"/>
              <a:gd name="connsiteY25" fmla="*/ 83835 h 225130"/>
              <a:gd name="connsiteX26" fmla="*/ 65270 w 210707"/>
              <a:gd name="connsiteY26" fmla="*/ 88254 h 225130"/>
              <a:gd name="connsiteX27" fmla="*/ 146158 w 210707"/>
              <a:gd name="connsiteY27" fmla="*/ 89875 h 225130"/>
              <a:gd name="connsiteX28" fmla="*/ 148662 w 210707"/>
              <a:gd name="connsiteY28" fmla="*/ 89875 h 225130"/>
              <a:gd name="connsiteX29" fmla="*/ 151756 w 210707"/>
              <a:gd name="connsiteY29" fmla="*/ 89875 h 225130"/>
              <a:gd name="connsiteX30" fmla="*/ 154998 w 210707"/>
              <a:gd name="connsiteY30" fmla="*/ 87813 h 225130"/>
              <a:gd name="connsiteX31" fmla="*/ 156471 w 210707"/>
              <a:gd name="connsiteY31" fmla="*/ 86781 h 225130"/>
              <a:gd name="connsiteX32" fmla="*/ 159713 w 210707"/>
              <a:gd name="connsiteY32" fmla="*/ 82067 h 225130"/>
              <a:gd name="connsiteX33" fmla="*/ 160891 w 210707"/>
              <a:gd name="connsiteY33" fmla="*/ 76467 h 225130"/>
              <a:gd name="connsiteX34" fmla="*/ 160891 w 210707"/>
              <a:gd name="connsiteY34" fmla="*/ 61734 h 225130"/>
              <a:gd name="connsiteX35" fmla="*/ 132307 w 210707"/>
              <a:gd name="connsiteY35" fmla="*/ 30793 h 225130"/>
              <a:gd name="connsiteX36" fmla="*/ 132307 w 210707"/>
              <a:gd name="connsiteY36" fmla="*/ 60261 h 225130"/>
              <a:gd name="connsiteX37" fmla="*/ 80887 w 210707"/>
              <a:gd name="connsiteY37" fmla="*/ 59229 h 225130"/>
              <a:gd name="connsiteX38" fmla="*/ 80887 w 210707"/>
              <a:gd name="connsiteY38" fmla="*/ 29762 h 225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210707" h="225130">
                <a:moveTo>
                  <a:pt x="66449" y="0"/>
                </a:moveTo>
                <a:cubicBezTo>
                  <a:pt x="58309" y="0"/>
                  <a:pt x="51716" y="6593"/>
                  <a:pt x="51716" y="14734"/>
                </a:cubicBezTo>
                <a:lnTo>
                  <a:pt x="51716" y="29467"/>
                </a:lnTo>
                <a:lnTo>
                  <a:pt x="17828" y="28731"/>
                </a:lnTo>
                <a:cubicBezTo>
                  <a:pt x="9687" y="28731"/>
                  <a:pt x="3094" y="35324"/>
                  <a:pt x="3094" y="43465"/>
                </a:cubicBezTo>
                <a:lnTo>
                  <a:pt x="0" y="206860"/>
                </a:lnTo>
                <a:cubicBezTo>
                  <a:pt x="0" y="210764"/>
                  <a:pt x="1546" y="214522"/>
                  <a:pt x="4309" y="217285"/>
                </a:cubicBezTo>
                <a:cubicBezTo>
                  <a:pt x="7072" y="220047"/>
                  <a:pt x="10829" y="221594"/>
                  <a:pt x="14734" y="221594"/>
                </a:cubicBezTo>
                <a:lnTo>
                  <a:pt x="192717" y="225130"/>
                </a:lnTo>
                <a:cubicBezTo>
                  <a:pt x="196622" y="225130"/>
                  <a:pt x="200379" y="223583"/>
                  <a:pt x="203141" y="220821"/>
                </a:cubicBezTo>
                <a:cubicBezTo>
                  <a:pt x="205904" y="218058"/>
                  <a:pt x="207451" y="214301"/>
                  <a:pt x="207451" y="210397"/>
                </a:cubicBezTo>
                <a:lnTo>
                  <a:pt x="210693" y="47152"/>
                </a:lnTo>
                <a:cubicBezTo>
                  <a:pt x="210877" y="43247"/>
                  <a:pt x="209367" y="39453"/>
                  <a:pt x="206567" y="36690"/>
                </a:cubicBezTo>
                <a:cubicBezTo>
                  <a:pt x="203951" y="33744"/>
                  <a:pt x="200195" y="32086"/>
                  <a:pt x="196253" y="32123"/>
                </a:cubicBezTo>
                <a:lnTo>
                  <a:pt x="162365" y="31386"/>
                </a:lnTo>
                <a:lnTo>
                  <a:pt x="162365" y="16653"/>
                </a:lnTo>
                <a:cubicBezTo>
                  <a:pt x="162549" y="12748"/>
                  <a:pt x="161039" y="8954"/>
                  <a:pt x="158240" y="6191"/>
                </a:cubicBezTo>
                <a:cubicBezTo>
                  <a:pt x="155550" y="3355"/>
                  <a:pt x="151830" y="1734"/>
                  <a:pt x="147926" y="1624"/>
                </a:cubicBezTo>
                <a:lnTo>
                  <a:pt x="67038" y="3"/>
                </a:lnTo>
                <a:close/>
                <a:moveTo>
                  <a:pt x="180340" y="61439"/>
                </a:moveTo>
                <a:lnTo>
                  <a:pt x="177688" y="195226"/>
                </a:lnTo>
                <a:lnTo>
                  <a:pt x="29172" y="192279"/>
                </a:lnTo>
                <a:lnTo>
                  <a:pt x="31677" y="58493"/>
                </a:lnTo>
                <a:lnTo>
                  <a:pt x="50830" y="58493"/>
                </a:lnTo>
                <a:lnTo>
                  <a:pt x="50830" y="73226"/>
                </a:lnTo>
                <a:cubicBezTo>
                  <a:pt x="50720" y="77168"/>
                  <a:pt x="52229" y="80998"/>
                  <a:pt x="54956" y="83835"/>
                </a:cubicBezTo>
                <a:cubicBezTo>
                  <a:pt x="57681" y="86597"/>
                  <a:pt x="61365" y="88181"/>
                  <a:pt x="65270" y="88254"/>
                </a:cubicBezTo>
                <a:lnTo>
                  <a:pt x="146158" y="89875"/>
                </a:lnTo>
                <a:cubicBezTo>
                  <a:pt x="147004" y="89949"/>
                  <a:pt x="147814" y="89949"/>
                  <a:pt x="148662" y="89875"/>
                </a:cubicBezTo>
                <a:lnTo>
                  <a:pt x="151756" y="89875"/>
                </a:lnTo>
                <a:cubicBezTo>
                  <a:pt x="152898" y="89286"/>
                  <a:pt x="153966" y="88586"/>
                  <a:pt x="154998" y="87813"/>
                </a:cubicBezTo>
                <a:lnTo>
                  <a:pt x="156471" y="86781"/>
                </a:lnTo>
                <a:cubicBezTo>
                  <a:pt x="157833" y="85419"/>
                  <a:pt x="158938" y="83835"/>
                  <a:pt x="159713" y="82067"/>
                </a:cubicBezTo>
                <a:cubicBezTo>
                  <a:pt x="160449" y="80299"/>
                  <a:pt x="160854" y="78383"/>
                  <a:pt x="160891" y="76467"/>
                </a:cubicBezTo>
                <a:lnTo>
                  <a:pt x="160891" y="61734"/>
                </a:lnTo>
                <a:close/>
                <a:moveTo>
                  <a:pt x="132307" y="30793"/>
                </a:moveTo>
                <a:lnTo>
                  <a:pt x="132307" y="60261"/>
                </a:lnTo>
                <a:lnTo>
                  <a:pt x="80887" y="59229"/>
                </a:lnTo>
                <a:lnTo>
                  <a:pt x="80887" y="29762"/>
                </a:lnTo>
                <a:close/>
              </a:path>
            </a:pathLst>
          </a:custGeom>
          <a:solidFill>
            <a:schemeClr val="accent1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90EBCD1-EC04-0E75-A60F-0F5D98CC119E}"/>
              </a:ext>
            </a:extLst>
          </p:cNvPr>
          <p:cNvSpPr/>
          <p:nvPr/>
        </p:nvSpPr>
        <p:spPr>
          <a:xfrm>
            <a:off x="10531193" y="1987456"/>
            <a:ext cx="116371" cy="23089"/>
          </a:xfrm>
          <a:custGeom>
            <a:avLst/>
            <a:gdLst>
              <a:gd name="connsiteX0" fmla="*/ 0 w 148515"/>
              <a:gd name="connsiteY0" fmla="*/ 0 h 29467"/>
              <a:gd name="connsiteX1" fmla="*/ 148516 w 148515"/>
              <a:gd name="connsiteY1" fmla="*/ 0 h 29467"/>
              <a:gd name="connsiteX2" fmla="*/ 148516 w 148515"/>
              <a:gd name="connsiteY2" fmla="*/ 29467 h 29467"/>
              <a:gd name="connsiteX3" fmla="*/ 0 w 148515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515" h="29467">
                <a:moveTo>
                  <a:pt x="0" y="0"/>
                </a:moveTo>
                <a:lnTo>
                  <a:pt x="148516" y="0"/>
                </a:lnTo>
                <a:lnTo>
                  <a:pt x="14851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AF0FE096-4201-3E07-3159-2F23E3DEFEBD}"/>
              </a:ext>
            </a:extLst>
          </p:cNvPr>
          <p:cNvSpPr/>
          <p:nvPr/>
        </p:nvSpPr>
        <p:spPr>
          <a:xfrm>
            <a:off x="10531193" y="2022435"/>
            <a:ext cx="81393" cy="23089"/>
          </a:xfrm>
          <a:custGeom>
            <a:avLst/>
            <a:gdLst>
              <a:gd name="connsiteX0" fmla="*/ 0 w 103876"/>
              <a:gd name="connsiteY0" fmla="*/ 0 h 29467"/>
              <a:gd name="connsiteX1" fmla="*/ 103876 w 103876"/>
              <a:gd name="connsiteY1" fmla="*/ 0 h 29467"/>
              <a:gd name="connsiteX2" fmla="*/ 103876 w 103876"/>
              <a:gd name="connsiteY2" fmla="*/ 29467 h 29467"/>
              <a:gd name="connsiteX3" fmla="*/ 0 w 103876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876" h="29467">
                <a:moveTo>
                  <a:pt x="0" y="0"/>
                </a:moveTo>
                <a:lnTo>
                  <a:pt x="103876" y="0"/>
                </a:lnTo>
                <a:lnTo>
                  <a:pt x="10387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7D3E703-0EBB-F03A-B652-CCD395F24207}"/>
              </a:ext>
            </a:extLst>
          </p:cNvPr>
          <p:cNvSpPr/>
          <p:nvPr/>
        </p:nvSpPr>
        <p:spPr>
          <a:xfrm>
            <a:off x="10531193" y="2057302"/>
            <a:ext cx="116371" cy="23089"/>
          </a:xfrm>
          <a:custGeom>
            <a:avLst/>
            <a:gdLst>
              <a:gd name="connsiteX0" fmla="*/ 0 w 148515"/>
              <a:gd name="connsiteY0" fmla="*/ 0 h 29467"/>
              <a:gd name="connsiteX1" fmla="*/ 148516 w 148515"/>
              <a:gd name="connsiteY1" fmla="*/ 0 h 29467"/>
              <a:gd name="connsiteX2" fmla="*/ 148516 w 148515"/>
              <a:gd name="connsiteY2" fmla="*/ 29467 h 29467"/>
              <a:gd name="connsiteX3" fmla="*/ 0 w 148515"/>
              <a:gd name="connsiteY3" fmla="*/ 29467 h 29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8515" h="29467">
                <a:moveTo>
                  <a:pt x="0" y="0"/>
                </a:moveTo>
                <a:lnTo>
                  <a:pt x="148516" y="0"/>
                </a:lnTo>
                <a:lnTo>
                  <a:pt x="148516" y="29467"/>
                </a:lnTo>
                <a:lnTo>
                  <a:pt x="0" y="29467"/>
                </a:lnTo>
                <a:close/>
              </a:path>
            </a:pathLst>
          </a:custGeom>
          <a:solidFill>
            <a:schemeClr val="accent2"/>
          </a:solidFill>
          <a:ln w="933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6" name="Tekstballon: rechthoek met afgeronde hoeken 15">
            <a:extLst>
              <a:ext uri="{FF2B5EF4-FFF2-40B4-BE49-F238E27FC236}">
                <a16:creationId xmlns:a16="http://schemas.microsoft.com/office/drawing/2014/main" id="{BBE0E9A8-5220-D1B0-D015-C9A3958998EA}"/>
              </a:ext>
            </a:extLst>
          </p:cNvPr>
          <p:cNvSpPr/>
          <p:nvPr/>
        </p:nvSpPr>
        <p:spPr>
          <a:xfrm>
            <a:off x="8026550" y="1704535"/>
            <a:ext cx="1416718" cy="634422"/>
          </a:xfrm>
          <a:prstGeom prst="wedgeRoundRectCallout">
            <a:avLst>
              <a:gd name="adj1" fmla="val -38778"/>
              <a:gd name="adj2" fmla="val 87532"/>
              <a:gd name="adj3" fmla="val 166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/>
              <a:t>Meest geschikt voor verzuim</a:t>
            </a:r>
          </a:p>
        </p:txBody>
      </p:sp>
    </p:spTree>
    <p:extLst>
      <p:ext uri="{BB962C8B-B14F-4D97-AF65-F5344CB8AC3E}">
        <p14:creationId xmlns:p14="http://schemas.microsoft.com/office/powerpoint/2010/main" val="2716732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troomdiagram: Alternatief proces 3">
            <a:extLst>
              <a:ext uri="{FF2B5EF4-FFF2-40B4-BE49-F238E27FC236}">
                <a16:creationId xmlns:a16="http://schemas.microsoft.com/office/drawing/2014/main" id="{82649029-76BC-A897-A341-5112582523C1}"/>
              </a:ext>
            </a:extLst>
          </p:cNvPr>
          <p:cNvSpPr/>
          <p:nvPr/>
        </p:nvSpPr>
        <p:spPr>
          <a:xfrm>
            <a:off x="579422" y="4504493"/>
            <a:ext cx="5368705" cy="1860091"/>
          </a:xfrm>
          <a:prstGeom prst="flowChartAlternateProcess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82775"/>
            <a:r>
              <a:rPr lang="nl-NL" sz="2800" b="1" dirty="0">
                <a:solidFill>
                  <a:schemeClr val="accent3"/>
                </a:solidFill>
              </a:rPr>
              <a:t>Anouk Piening</a:t>
            </a:r>
          </a:p>
          <a:p>
            <a:pPr marL="1882775"/>
            <a:r>
              <a:rPr lang="nl-NL" sz="2800" dirty="0">
                <a:solidFill>
                  <a:schemeClr val="tx1"/>
                </a:solidFill>
                <a:hlinkClick r:id="rId2"/>
              </a:rPr>
              <a:t>anouk@studiocix.com</a:t>
            </a:r>
            <a:endParaRPr lang="nl-NL" sz="2800" dirty="0">
              <a:solidFill>
                <a:schemeClr val="tx1"/>
              </a:solidFill>
            </a:endParaRPr>
          </a:p>
          <a:p>
            <a:pPr marL="1882775"/>
            <a:r>
              <a:rPr lang="nl-NL" sz="2800" dirty="0">
                <a:solidFill>
                  <a:schemeClr val="tx1"/>
                </a:solidFill>
              </a:rPr>
              <a:t>06-11953340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9A844FD0-C3FC-5E56-9DA5-05E101DAB18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39501" y="4624538"/>
            <a:ext cx="1620000" cy="1620000"/>
          </a:xfrm>
          <a:prstGeom prst="ellipse">
            <a:avLst/>
          </a:prstGeom>
          <a:ln w="190500" cap="rnd">
            <a:noFill/>
            <a:prstDash val="solid"/>
          </a:ln>
          <a:effectLst>
            <a:outerShdw blurRad="127000" algn="bl" rotWithShape="0">
              <a:srgbClr val="000000"/>
            </a:outerShdw>
          </a:effectLst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09F7BFE0-7E2D-F3AE-C149-3FC7DA80DD6D}"/>
              </a:ext>
            </a:extLst>
          </p:cNvPr>
          <p:cNvSpPr txBox="1"/>
          <p:nvPr/>
        </p:nvSpPr>
        <p:spPr>
          <a:xfrm>
            <a:off x="493413" y="678377"/>
            <a:ext cx="5540721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800" dirty="0">
                <a:solidFill>
                  <a:schemeClr val="bg1"/>
                </a:solidFill>
              </a:rPr>
              <a:t>Vragen of een keer kennismaken om ervaringen uit te wisselen?</a:t>
            </a: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Ik help je graag!</a:t>
            </a:r>
          </a:p>
          <a:p>
            <a:pPr algn="ctr"/>
            <a:endParaRPr lang="nl-NL" sz="2800" dirty="0">
              <a:solidFill>
                <a:schemeClr val="bg1"/>
              </a:solidFill>
            </a:endParaRP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Plan een gesprek via:</a:t>
            </a:r>
          </a:p>
          <a:p>
            <a:pPr algn="ctr"/>
            <a:r>
              <a:rPr lang="nl-NL" sz="2800" dirty="0">
                <a:solidFill>
                  <a:schemeClr val="bg1"/>
                </a:solidFill>
                <a:hlinkClick r:id="rId4"/>
              </a:rPr>
              <a:t>https://calendly.com/anoukpiening</a:t>
            </a:r>
            <a:r>
              <a:rPr lang="nl-NL" sz="2800" dirty="0">
                <a:solidFill>
                  <a:schemeClr val="bg1"/>
                </a:solidFill>
              </a:rPr>
              <a:t>  </a:t>
            </a:r>
          </a:p>
          <a:p>
            <a:pPr algn="ctr"/>
            <a:endParaRPr lang="nl-NL" sz="2800" dirty="0">
              <a:solidFill>
                <a:schemeClr val="bg1"/>
              </a:solidFill>
            </a:endParaRPr>
          </a:p>
          <a:p>
            <a:pPr algn="ctr"/>
            <a:r>
              <a:rPr lang="nl-NL" sz="2800" dirty="0">
                <a:solidFill>
                  <a:schemeClr val="bg1"/>
                </a:solidFill>
              </a:rPr>
              <a:t>Of neem contact op met:</a:t>
            </a: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E2D1562D-18B7-022D-1AC9-E46209C9DD5E}"/>
              </a:ext>
            </a:extLst>
          </p:cNvPr>
          <p:cNvSpPr txBox="1"/>
          <p:nvPr/>
        </p:nvSpPr>
        <p:spPr>
          <a:xfrm>
            <a:off x="6778027" y="4972873"/>
            <a:ext cx="48345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dirty="0">
                <a:solidFill>
                  <a:schemeClr val="accent2"/>
                </a:solidFill>
                <a:hlinkClick r:id="rId5"/>
              </a:rPr>
              <a:t>www.studiocix.com</a:t>
            </a:r>
            <a:r>
              <a:rPr lang="nl-NL" sz="2400" dirty="0">
                <a:solidFill>
                  <a:schemeClr val="accent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67640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kmedianet Template-set">
  <a:themeElements>
    <a:clrScheme name="Studio CIX">
      <a:dk1>
        <a:srgbClr val="7C7C7C"/>
      </a:dk1>
      <a:lt1>
        <a:sysClr val="window" lastClr="FFFFFF"/>
      </a:lt1>
      <a:dk2>
        <a:srgbClr val="60B3BB"/>
      </a:dk2>
      <a:lt2>
        <a:srgbClr val="CEDBE6"/>
      </a:lt2>
      <a:accent1>
        <a:srgbClr val="60B3BB"/>
      </a:accent1>
      <a:accent2>
        <a:srgbClr val="98733A"/>
      </a:accent2>
      <a:accent3>
        <a:srgbClr val="4697A1"/>
      </a:accent3>
      <a:accent4>
        <a:srgbClr val="BFBFBF"/>
      </a:accent4>
      <a:accent5>
        <a:srgbClr val="A5A5A5"/>
      </a:accent5>
      <a:accent6>
        <a:srgbClr val="EEE3D3"/>
      </a:accent6>
      <a:hlink>
        <a:srgbClr val="98733A"/>
      </a:hlink>
      <a:folHlink>
        <a:srgbClr val="FFFFFF"/>
      </a:folHlink>
    </a:clrScheme>
    <a:fontScheme name="Studio CIX">
      <a:majorFont>
        <a:latin typeface="Roboto Condensed"/>
        <a:ea typeface=""/>
        <a:cs typeface=""/>
      </a:majorFont>
      <a:minorFont>
        <a:latin typeface="Roboto Condensed"/>
        <a:ea typeface=""/>
        <a:cs typeface=""/>
      </a:minorFont>
    </a:fontScheme>
    <a:fmtScheme name="Kantoorth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6">
    <wetp:webextensionref xmlns:r="http://schemas.openxmlformats.org/officeDocument/2006/relationships" r:id="rId1"/>
  </wetp:taskpane>
  <wetp:taskpane dockstate="right" visibility="0" width="438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A39C9812-C200-4C1B-95D1-D6B644D5D0BA}">
  <we:reference id="wa200005234" version="1.0.0.0" store="en-US" storeType="OMEX"/>
  <we:alternateReferences>
    <we:reference id="WA200005234" version="1.0.0.0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170C0D9F-6664-482C-8496-C08FEF5513F8}">
  <we:reference id="wa104381063" version="1.0.0.1" store="nl-NL" storeType="OMEX"/>
  <we:alternateReferences>
    <we:reference id="wa104381063" version="1.0.0.1" store="nl-NL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f8b3583-3b50-4a6c-93c0-afa9cb4f235c">
      <Terms xmlns="http://schemas.microsoft.com/office/infopath/2007/PartnerControls"/>
    </lcf76f155ced4ddcb4097134ff3c332f>
    <TaxCatchAll xmlns="846efe57-4d57-46d3-8cec-a205bf6304fc" xsi:nil="true"/>
    <SharedWithUsers xmlns="846efe57-4d57-46d3-8cec-a205bf6304fc">
      <UserInfo>
        <DisplayName>Sterre Scholten</DisplayName>
        <AccountId>67</AccountId>
        <AccountType/>
      </UserInfo>
      <UserInfo>
        <DisplayName>Sander Haas</DisplayName>
        <AccountId>22</AccountId>
        <AccountType/>
      </UserInfo>
      <UserInfo>
        <DisplayName>Gyula Rychtarski</DisplayName>
        <AccountId>52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29BDB5D22094D4DB21C7208366FF3AC" ma:contentTypeVersion="14" ma:contentTypeDescription="Create a new document." ma:contentTypeScope="" ma:versionID="b31c82677f8263df8425d730cb836c76">
  <xsd:schema xmlns:xsd="http://www.w3.org/2001/XMLSchema" xmlns:xs="http://www.w3.org/2001/XMLSchema" xmlns:p="http://schemas.microsoft.com/office/2006/metadata/properties" xmlns:ns2="8f8b3583-3b50-4a6c-93c0-afa9cb4f235c" xmlns:ns3="846efe57-4d57-46d3-8cec-a205bf6304fc" targetNamespace="http://schemas.microsoft.com/office/2006/metadata/properties" ma:root="true" ma:fieldsID="a88f3a5e63119b64f4006801a07f3fe9" ns2:_="" ns3:_="">
    <xsd:import namespace="8f8b3583-3b50-4a6c-93c0-afa9cb4f235c"/>
    <xsd:import namespace="846efe57-4d57-46d3-8cec-a205bf6304f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8b3583-3b50-4a6c-93c0-afa9cb4f23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63a8279c-9b2f-4a4f-96ba-5e00951cf5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6efe57-4d57-46d3-8cec-a205bf6304fc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66de4556-3ec6-466a-aeea-7e9b952c923b}" ma:internalName="TaxCatchAll" ma:showField="CatchAllData" ma:web="846efe57-4d57-46d3-8cec-a205bf6304f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4B77C12-5686-4740-A34B-169DF3496F61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dcmitype/"/>
    <ds:schemaRef ds:uri="8f8b3583-3b50-4a6c-93c0-afa9cb4f235c"/>
    <ds:schemaRef ds:uri="846efe57-4d57-46d3-8cec-a205bf6304fc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BDABD5FE-52A1-4FC3-88DA-C81B607205EE}">
  <ds:schemaRefs>
    <ds:schemaRef ds:uri="846efe57-4d57-46d3-8cec-a205bf6304fc"/>
    <ds:schemaRef ds:uri="8f8b3583-3b50-4a6c-93c0-afa9cb4f235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A6D7F89-1D99-43F9-8BA1-DECE8BC49F3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DG Presentatie</Template>
  <TotalTime>259</TotalTime>
  <Words>1210</Words>
  <Application>Microsoft Office PowerPoint</Application>
  <PresentationFormat>Breedbeeld</PresentationFormat>
  <Paragraphs>173</Paragraphs>
  <Slides>6</Slides>
  <Notes>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8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Cinzel</vt:lpstr>
      <vt:lpstr>Courier New</vt:lpstr>
      <vt:lpstr>Open Sans Semibold</vt:lpstr>
      <vt:lpstr>Roboto Condensed</vt:lpstr>
      <vt:lpstr>Wingdings</vt:lpstr>
      <vt:lpstr>Vakmedianet Template-set</vt:lpstr>
      <vt:lpstr>think-cell Slide</vt:lpstr>
      <vt:lpstr>PowerPoint-presentatie</vt:lpstr>
      <vt:lpstr>Vijf stappen om in gesprek te gaan met leidinggevenden over preventie en herstelbegeleiding</vt:lpstr>
      <vt:lpstr>PowerPoint-presentatie</vt:lpstr>
      <vt:lpstr>Zo brengen wij de medewerker- en leidinggevende verzuim- en herstelbeleving in kaart</vt:lpstr>
      <vt:lpstr>PowerPoint-presentatie</vt:lpstr>
      <vt:lpstr>PowerPoint-presentat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lkom</dc:title>
  <dc:subject/>
  <dc:creator>anouk@studiocix.com</dc:creator>
  <cp:keywords/>
  <dc:description/>
  <cp:lastModifiedBy>Anouk Piening</cp:lastModifiedBy>
  <cp:revision>9</cp:revision>
  <dcterms:created xsi:type="dcterms:W3CDTF">2024-02-20T10:13:36Z</dcterms:created>
  <dcterms:modified xsi:type="dcterms:W3CDTF">2025-06-05T10:07:33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9BDB5D22094D4DB21C7208366FF3AC</vt:lpwstr>
  </property>
  <property fmtid="{D5CDD505-2E9C-101B-9397-08002B2CF9AE}" pid="3" name="MediaServiceImageTags">
    <vt:lpwstr/>
  </property>
  <property fmtid="{D5CDD505-2E9C-101B-9397-08002B2CF9AE}" pid="4" name="_dlc_DocIdItemGuid">
    <vt:lpwstr>a93ee025-7bb1-4885-89fd-66fc4d0a9403</vt:lpwstr>
  </property>
</Properties>
</file>